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7" r:id="rId2"/>
    <p:sldId id="277" r:id="rId3"/>
    <p:sldId id="278" r:id="rId4"/>
    <p:sldId id="272" r:id="rId5"/>
    <p:sldId id="261" r:id="rId6"/>
    <p:sldId id="275" r:id="rId7"/>
    <p:sldId id="262" r:id="rId8"/>
    <p:sldId id="276" r:id="rId9"/>
    <p:sldId id="274" r:id="rId10"/>
    <p:sldId id="266" r:id="rId11"/>
    <p:sldId id="267" r:id="rId12"/>
    <p:sldId id="273" r:id="rId13"/>
    <p:sldId id="268" r:id="rId14"/>
    <p:sldId id="269" r:id="rId15"/>
  </p:sldIdLst>
  <p:sldSz cx="27971750" cy="15911513"/>
  <p:notesSz cx="6858000" cy="9144000"/>
  <p:custDataLst>
    <p:tags r:id="rId16"/>
  </p:custDataLst>
  <p:defaultTextStyle>
    <a:defPPr>
      <a:defRPr lang="de-DE"/>
    </a:defPPr>
    <a:lvl1pPr marL="0" algn="l" defTabSz="2106320" rtl="0" eaLnBrk="1" latinLnBrk="0" hangingPunct="1">
      <a:defRPr sz="4146" kern="1200">
        <a:solidFill>
          <a:schemeClr val="tx1"/>
        </a:solidFill>
        <a:latin typeface="+mn-lt"/>
        <a:ea typeface="+mn-ea"/>
        <a:cs typeface="+mn-cs"/>
      </a:defRPr>
    </a:lvl1pPr>
    <a:lvl2pPr marL="1053160" algn="l" defTabSz="2106320" rtl="0" eaLnBrk="1" latinLnBrk="0" hangingPunct="1">
      <a:defRPr sz="4146" kern="1200">
        <a:solidFill>
          <a:schemeClr val="tx1"/>
        </a:solidFill>
        <a:latin typeface="+mn-lt"/>
        <a:ea typeface="+mn-ea"/>
        <a:cs typeface="+mn-cs"/>
      </a:defRPr>
    </a:lvl2pPr>
    <a:lvl3pPr marL="2106320" algn="l" defTabSz="2106320" rtl="0" eaLnBrk="1" latinLnBrk="0" hangingPunct="1">
      <a:defRPr sz="4146" kern="1200">
        <a:solidFill>
          <a:schemeClr val="tx1"/>
        </a:solidFill>
        <a:latin typeface="+mn-lt"/>
        <a:ea typeface="+mn-ea"/>
        <a:cs typeface="+mn-cs"/>
      </a:defRPr>
    </a:lvl3pPr>
    <a:lvl4pPr marL="3159481" algn="l" defTabSz="2106320" rtl="0" eaLnBrk="1" latinLnBrk="0" hangingPunct="1">
      <a:defRPr sz="4146" kern="1200">
        <a:solidFill>
          <a:schemeClr val="tx1"/>
        </a:solidFill>
        <a:latin typeface="+mn-lt"/>
        <a:ea typeface="+mn-ea"/>
        <a:cs typeface="+mn-cs"/>
      </a:defRPr>
    </a:lvl4pPr>
    <a:lvl5pPr marL="4212641" algn="l" defTabSz="2106320" rtl="0" eaLnBrk="1" latinLnBrk="0" hangingPunct="1">
      <a:defRPr sz="4146" kern="1200">
        <a:solidFill>
          <a:schemeClr val="tx1"/>
        </a:solidFill>
        <a:latin typeface="+mn-lt"/>
        <a:ea typeface="+mn-ea"/>
        <a:cs typeface="+mn-cs"/>
      </a:defRPr>
    </a:lvl5pPr>
    <a:lvl6pPr marL="5265801" algn="l" defTabSz="2106320" rtl="0" eaLnBrk="1" latinLnBrk="0" hangingPunct="1">
      <a:defRPr sz="4146" kern="1200">
        <a:solidFill>
          <a:schemeClr val="tx1"/>
        </a:solidFill>
        <a:latin typeface="+mn-lt"/>
        <a:ea typeface="+mn-ea"/>
        <a:cs typeface="+mn-cs"/>
      </a:defRPr>
    </a:lvl6pPr>
    <a:lvl7pPr marL="6318961" algn="l" defTabSz="2106320" rtl="0" eaLnBrk="1" latinLnBrk="0" hangingPunct="1">
      <a:defRPr sz="4146" kern="1200">
        <a:solidFill>
          <a:schemeClr val="tx1"/>
        </a:solidFill>
        <a:latin typeface="+mn-lt"/>
        <a:ea typeface="+mn-ea"/>
        <a:cs typeface="+mn-cs"/>
      </a:defRPr>
    </a:lvl7pPr>
    <a:lvl8pPr marL="7372121" algn="l" defTabSz="2106320" rtl="0" eaLnBrk="1" latinLnBrk="0" hangingPunct="1">
      <a:defRPr sz="4146" kern="1200">
        <a:solidFill>
          <a:schemeClr val="tx1"/>
        </a:solidFill>
        <a:latin typeface="+mn-lt"/>
        <a:ea typeface="+mn-ea"/>
        <a:cs typeface="+mn-cs"/>
      </a:defRPr>
    </a:lvl8pPr>
    <a:lvl9pPr marL="8425282" algn="l" defTabSz="2106320" rtl="0" eaLnBrk="1" latinLnBrk="0" hangingPunct="1">
      <a:defRPr sz="4146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5011">
          <p15:clr>
            <a:srgbClr val="A4A3A4"/>
          </p15:clr>
        </p15:guide>
        <p15:guide id="2" pos="881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FCB07"/>
    <a:srgbClr val="99CC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660"/>
  </p:normalViewPr>
  <p:slideViewPr>
    <p:cSldViewPr snapToGrid="0">
      <p:cViewPr varScale="1">
        <p:scale>
          <a:sx n="27" d="100"/>
          <a:sy n="27" d="100"/>
        </p:scale>
        <p:origin x="152" y="160"/>
      </p:cViewPr>
      <p:guideLst>
        <p:guide orient="horz" pos="5011"/>
        <p:guide pos="881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496469" y="2604038"/>
            <a:ext cx="20978813" cy="5539564"/>
          </a:xfrm>
        </p:spPr>
        <p:txBody>
          <a:bodyPr anchor="b"/>
          <a:lstStyle>
            <a:lvl1pPr algn="ctr">
              <a:defRPr sz="13766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496469" y="8357229"/>
            <a:ext cx="20978813" cy="3841598"/>
          </a:xfrm>
        </p:spPr>
        <p:txBody>
          <a:bodyPr/>
          <a:lstStyle>
            <a:lvl1pPr marL="0" indent="0" algn="ctr">
              <a:buNone/>
              <a:defRPr sz="5506"/>
            </a:lvl1pPr>
            <a:lvl2pPr marL="1048954" indent="0" algn="ctr">
              <a:buNone/>
              <a:defRPr sz="4589"/>
            </a:lvl2pPr>
            <a:lvl3pPr marL="2097908" indent="0" algn="ctr">
              <a:buNone/>
              <a:defRPr sz="4130"/>
            </a:lvl3pPr>
            <a:lvl4pPr marL="3146862" indent="0" algn="ctr">
              <a:buNone/>
              <a:defRPr sz="3671"/>
            </a:lvl4pPr>
            <a:lvl5pPr marL="4195816" indent="0" algn="ctr">
              <a:buNone/>
              <a:defRPr sz="3671"/>
            </a:lvl5pPr>
            <a:lvl6pPr marL="5244770" indent="0" algn="ctr">
              <a:buNone/>
              <a:defRPr sz="3671"/>
            </a:lvl6pPr>
            <a:lvl7pPr marL="6293724" indent="0" algn="ctr">
              <a:buNone/>
              <a:defRPr sz="3671"/>
            </a:lvl7pPr>
            <a:lvl8pPr marL="7342678" indent="0" algn="ctr">
              <a:buNone/>
              <a:defRPr sz="3671"/>
            </a:lvl8pPr>
            <a:lvl9pPr marL="8391632" indent="0" algn="ctr">
              <a:buNone/>
              <a:defRPr sz="3671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A77FC1-487C-4CAA-9AC1-9D9C7304D537}" type="datetimeFigureOut">
              <a:rPr lang="de-CH" smtClean="0"/>
              <a:t>12.12.2021</a:t>
            </a:fld>
            <a:endParaRPr lang="de-CH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CF00EE-2EED-44D8-853A-76A2A1C6C6BF}" type="slidenum">
              <a:rPr lang="de-CH" smtClean="0"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59821805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A77FC1-487C-4CAA-9AC1-9D9C7304D537}" type="datetimeFigureOut">
              <a:rPr lang="de-CH" smtClean="0"/>
              <a:t>12.12.2021</a:t>
            </a:fld>
            <a:endParaRPr lang="de-CH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CF00EE-2EED-44D8-853A-76A2A1C6C6BF}" type="slidenum">
              <a:rPr lang="de-CH" smtClean="0"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5597542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20017283" y="847141"/>
            <a:ext cx="6031409" cy="13484272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23058" y="847141"/>
            <a:ext cx="17744579" cy="13484272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A77FC1-487C-4CAA-9AC1-9D9C7304D537}" type="datetimeFigureOut">
              <a:rPr lang="de-CH" smtClean="0"/>
              <a:t>12.12.2021</a:t>
            </a:fld>
            <a:endParaRPr lang="de-CH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CF00EE-2EED-44D8-853A-76A2A1C6C6BF}" type="slidenum">
              <a:rPr lang="de-CH" smtClean="0"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44551199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A77FC1-487C-4CAA-9AC1-9D9C7304D537}" type="datetimeFigureOut">
              <a:rPr lang="de-CH" smtClean="0"/>
              <a:t>12.12.2021</a:t>
            </a:fld>
            <a:endParaRPr lang="de-CH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CF00EE-2EED-44D8-853A-76A2A1C6C6BF}" type="slidenum">
              <a:rPr lang="de-CH" smtClean="0"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5838058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08489" y="3966831"/>
            <a:ext cx="24125634" cy="6618746"/>
          </a:xfrm>
        </p:spPr>
        <p:txBody>
          <a:bodyPr anchor="b"/>
          <a:lstStyle>
            <a:lvl1pPr>
              <a:defRPr sz="13766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908489" y="10648193"/>
            <a:ext cx="24125634" cy="3480642"/>
          </a:xfrm>
        </p:spPr>
        <p:txBody>
          <a:bodyPr/>
          <a:lstStyle>
            <a:lvl1pPr marL="0" indent="0">
              <a:buNone/>
              <a:defRPr sz="5506">
                <a:solidFill>
                  <a:schemeClr val="tx1">
                    <a:tint val="75000"/>
                  </a:schemeClr>
                </a:solidFill>
              </a:defRPr>
            </a:lvl1pPr>
            <a:lvl2pPr marL="1048954" indent="0">
              <a:buNone/>
              <a:defRPr sz="4589">
                <a:solidFill>
                  <a:schemeClr val="tx1">
                    <a:tint val="75000"/>
                  </a:schemeClr>
                </a:solidFill>
              </a:defRPr>
            </a:lvl2pPr>
            <a:lvl3pPr marL="2097908" indent="0">
              <a:buNone/>
              <a:defRPr sz="4130">
                <a:solidFill>
                  <a:schemeClr val="tx1">
                    <a:tint val="75000"/>
                  </a:schemeClr>
                </a:solidFill>
              </a:defRPr>
            </a:lvl3pPr>
            <a:lvl4pPr marL="3146862" indent="0">
              <a:buNone/>
              <a:defRPr sz="3671">
                <a:solidFill>
                  <a:schemeClr val="tx1">
                    <a:tint val="75000"/>
                  </a:schemeClr>
                </a:solidFill>
              </a:defRPr>
            </a:lvl4pPr>
            <a:lvl5pPr marL="4195816" indent="0">
              <a:buNone/>
              <a:defRPr sz="3671">
                <a:solidFill>
                  <a:schemeClr val="tx1">
                    <a:tint val="75000"/>
                  </a:schemeClr>
                </a:solidFill>
              </a:defRPr>
            </a:lvl5pPr>
            <a:lvl6pPr marL="5244770" indent="0">
              <a:buNone/>
              <a:defRPr sz="3671">
                <a:solidFill>
                  <a:schemeClr val="tx1">
                    <a:tint val="75000"/>
                  </a:schemeClr>
                </a:solidFill>
              </a:defRPr>
            </a:lvl6pPr>
            <a:lvl7pPr marL="6293724" indent="0">
              <a:buNone/>
              <a:defRPr sz="3671">
                <a:solidFill>
                  <a:schemeClr val="tx1">
                    <a:tint val="75000"/>
                  </a:schemeClr>
                </a:solidFill>
              </a:defRPr>
            </a:lvl7pPr>
            <a:lvl8pPr marL="7342678" indent="0">
              <a:buNone/>
              <a:defRPr sz="3671">
                <a:solidFill>
                  <a:schemeClr val="tx1">
                    <a:tint val="75000"/>
                  </a:schemeClr>
                </a:solidFill>
              </a:defRPr>
            </a:lvl8pPr>
            <a:lvl9pPr marL="8391632" indent="0">
              <a:buNone/>
              <a:defRPr sz="3671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A77FC1-487C-4CAA-9AC1-9D9C7304D537}" type="datetimeFigureOut">
              <a:rPr lang="de-CH" smtClean="0"/>
              <a:t>12.12.2021</a:t>
            </a:fld>
            <a:endParaRPr lang="de-CH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CF00EE-2EED-44D8-853A-76A2A1C6C6BF}" type="slidenum">
              <a:rPr lang="de-CH" smtClean="0"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42515787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923058" y="4235704"/>
            <a:ext cx="11887994" cy="10095709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4160698" y="4235704"/>
            <a:ext cx="11887994" cy="10095709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A77FC1-487C-4CAA-9AC1-9D9C7304D537}" type="datetimeFigureOut">
              <a:rPr lang="de-CH" smtClean="0"/>
              <a:t>12.12.2021</a:t>
            </a:fld>
            <a:endParaRPr lang="de-CH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CF00EE-2EED-44D8-853A-76A2A1C6C6BF}" type="slidenum">
              <a:rPr lang="de-CH" smtClean="0"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81741731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26701" y="847142"/>
            <a:ext cx="24125634" cy="3075490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926702" y="3900532"/>
            <a:ext cx="11833360" cy="1911590"/>
          </a:xfrm>
        </p:spPr>
        <p:txBody>
          <a:bodyPr anchor="b"/>
          <a:lstStyle>
            <a:lvl1pPr marL="0" indent="0">
              <a:buNone/>
              <a:defRPr sz="5506" b="1"/>
            </a:lvl1pPr>
            <a:lvl2pPr marL="1048954" indent="0">
              <a:buNone/>
              <a:defRPr sz="4589" b="1"/>
            </a:lvl2pPr>
            <a:lvl3pPr marL="2097908" indent="0">
              <a:buNone/>
              <a:defRPr sz="4130" b="1"/>
            </a:lvl3pPr>
            <a:lvl4pPr marL="3146862" indent="0">
              <a:buNone/>
              <a:defRPr sz="3671" b="1"/>
            </a:lvl4pPr>
            <a:lvl5pPr marL="4195816" indent="0">
              <a:buNone/>
              <a:defRPr sz="3671" b="1"/>
            </a:lvl5pPr>
            <a:lvl6pPr marL="5244770" indent="0">
              <a:buNone/>
              <a:defRPr sz="3671" b="1"/>
            </a:lvl6pPr>
            <a:lvl7pPr marL="6293724" indent="0">
              <a:buNone/>
              <a:defRPr sz="3671" b="1"/>
            </a:lvl7pPr>
            <a:lvl8pPr marL="7342678" indent="0">
              <a:buNone/>
              <a:defRPr sz="3671" b="1"/>
            </a:lvl8pPr>
            <a:lvl9pPr marL="8391632" indent="0">
              <a:buNone/>
              <a:defRPr sz="3671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926702" y="5812122"/>
            <a:ext cx="11833360" cy="8548756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14160698" y="3900532"/>
            <a:ext cx="11891637" cy="1911590"/>
          </a:xfrm>
        </p:spPr>
        <p:txBody>
          <a:bodyPr anchor="b"/>
          <a:lstStyle>
            <a:lvl1pPr marL="0" indent="0">
              <a:buNone/>
              <a:defRPr sz="5506" b="1"/>
            </a:lvl1pPr>
            <a:lvl2pPr marL="1048954" indent="0">
              <a:buNone/>
              <a:defRPr sz="4589" b="1"/>
            </a:lvl2pPr>
            <a:lvl3pPr marL="2097908" indent="0">
              <a:buNone/>
              <a:defRPr sz="4130" b="1"/>
            </a:lvl3pPr>
            <a:lvl4pPr marL="3146862" indent="0">
              <a:buNone/>
              <a:defRPr sz="3671" b="1"/>
            </a:lvl4pPr>
            <a:lvl5pPr marL="4195816" indent="0">
              <a:buNone/>
              <a:defRPr sz="3671" b="1"/>
            </a:lvl5pPr>
            <a:lvl6pPr marL="5244770" indent="0">
              <a:buNone/>
              <a:defRPr sz="3671" b="1"/>
            </a:lvl6pPr>
            <a:lvl7pPr marL="6293724" indent="0">
              <a:buNone/>
              <a:defRPr sz="3671" b="1"/>
            </a:lvl7pPr>
            <a:lvl8pPr marL="7342678" indent="0">
              <a:buNone/>
              <a:defRPr sz="3671" b="1"/>
            </a:lvl8pPr>
            <a:lvl9pPr marL="8391632" indent="0">
              <a:buNone/>
              <a:defRPr sz="3671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14160698" y="5812122"/>
            <a:ext cx="11891637" cy="8548756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A77FC1-487C-4CAA-9AC1-9D9C7304D537}" type="datetimeFigureOut">
              <a:rPr lang="de-CH" smtClean="0"/>
              <a:t>12.12.2021</a:t>
            </a:fld>
            <a:endParaRPr lang="de-CH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CF00EE-2EED-44D8-853A-76A2A1C6C6BF}" type="slidenum">
              <a:rPr lang="de-CH" smtClean="0"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2146181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A77FC1-487C-4CAA-9AC1-9D9C7304D537}" type="datetimeFigureOut">
              <a:rPr lang="de-CH" smtClean="0"/>
              <a:t>12.12.2021</a:t>
            </a:fld>
            <a:endParaRPr lang="de-CH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CF00EE-2EED-44D8-853A-76A2A1C6C6BF}" type="slidenum">
              <a:rPr lang="de-CH" smtClean="0"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6660340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43229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0" name="think-cell Folie" r:id="rId4" imgW="416" imgH="416" progId="TCLayout.ActiveDocument.1">
                  <p:embed/>
                </p:oleObj>
              </mc:Choice>
              <mc:Fallback>
                <p:oleObj name="think-cell Folie" r:id="rId4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A77FC1-487C-4CAA-9AC1-9D9C7304D537}" type="datetimeFigureOut">
              <a:rPr lang="de-CH" smtClean="0"/>
              <a:t>12.12.2021</a:t>
            </a:fld>
            <a:endParaRPr lang="de-CH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CF00EE-2EED-44D8-853A-76A2A1C6C6BF}" type="slidenum">
              <a:rPr lang="de-CH" smtClean="0"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0383735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26702" y="1060768"/>
            <a:ext cx="9021617" cy="3712686"/>
          </a:xfrm>
        </p:spPr>
        <p:txBody>
          <a:bodyPr anchor="b"/>
          <a:lstStyle>
            <a:lvl1pPr>
              <a:defRPr sz="7342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891637" y="2290964"/>
            <a:ext cx="14160698" cy="11307487"/>
          </a:xfrm>
        </p:spPr>
        <p:txBody>
          <a:bodyPr/>
          <a:lstStyle>
            <a:lvl1pPr>
              <a:defRPr sz="7342"/>
            </a:lvl1pPr>
            <a:lvl2pPr>
              <a:defRPr sz="6424"/>
            </a:lvl2pPr>
            <a:lvl3pPr>
              <a:defRPr sz="5506"/>
            </a:lvl3pPr>
            <a:lvl4pPr>
              <a:defRPr sz="4589"/>
            </a:lvl4pPr>
            <a:lvl5pPr>
              <a:defRPr sz="4589"/>
            </a:lvl5pPr>
            <a:lvl6pPr>
              <a:defRPr sz="4589"/>
            </a:lvl6pPr>
            <a:lvl7pPr>
              <a:defRPr sz="4589"/>
            </a:lvl7pPr>
            <a:lvl8pPr>
              <a:defRPr sz="4589"/>
            </a:lvl8pPr>
            <a:lvl9pPr>
              <a:defRPr sz="4589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26702" y="4773454"/>
            <a:ext cx="9021617" cy="8843414"/>
          </a:xfrm>
        </p:spPr>
        <p:txBody>
          <a:bodyPr/>
          <a:lstStyle>
            <a:lvl1pPr marL="0" indent="0">
              <a:buNone/>
              <a:defRPr sz="3671"/>
            </a:lvl1pPr>
            <a:lvl2pPr marL="1048954" indent="0">
              <a:buNone/>
              <a:defRPr sz="3212"/>
            </a:lvl2pPr>
            <a:lvl3pPr marL="2097908" indent="0">
              <a:buNone/>
              <a:defRPr sz="2753"/>
            </a:lvl3pPr>
            <a:lvl4pPr marL="3146862" indent="0">
              <a:buNone/>
              <a:defRPr sz="2294"/>
            </a:lvl4pPr>
            <a:lvl5pPr marL="4195816" indent="0">
              <a:buNone/>
              <a:defRPr sz="2294"/>
            </a:lvl5pPr>
            <a:lvl6pPr marL="5244770" indent="0">
              <a:buNone/>
              <a:defRPr sz="2294"/>
            </a:lvl6pPr>
            <a:lvl7pPr marL="6293724" indent="0">
              <a:buNone/>
              <a:defRPr sz="2294"/>
            </a:lvl7pPr>
            <a:lvl8pPr marL="7342678" indent="0">
              <a:buNone/>
              <a:defRPr sz="2294"/>
            </a:lvl8pPr>
            <a:lvl9pPr marL="8391632" indent="0">
              <a:buNone/>
              <a:defRPr sz="2294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A77FC1-487C-4CAA-9AC1-9D9C7304D537}" type="datetimeFigureOut">
              <a:rPr lang="de-CH" smtClean="0"/>
              <a:t>12.12.2021</a:t>
            </a:fld>
            <a:endParaRPr lang="de-CH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CF00EE-2EED-44D8-853A-76A2A1C6C6BF}" type="slidenum">
              <a:rPr lang="de-CH" smtClean="0"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46881052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26702" y="1060768"/>
            <a:ext cx="9021617" cy="3712686"/>
          </a:xfrm>
        </p:spPr>
        <p:txBody>
          <a:bodyPr anchor="b"/>
          <a:lstStyle>
            <a:lvl1pPr>
              <a:defRPr sz="7342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1891637" y="2290964"/>
            <a:ext cx="14160698" cy="11307487"/>
          </a:xfrm>
        </p:spPr>
        <p:txBody>
          <a:bodyPr anchor="t"/>
          <a:lstStyle>
            <a:lvl1pPr marL="0" indent="0">
              <a:buNone/>
              <a:defRPr sz="7342"/>
            </a:lvl1pPr>
            <a:lvl2pPr marL="1048954" indent="0">
              <a:buNone/>
              <a:defRPr sz="6424"/>
            </a:lvl2pPr>
            <a:lvl3pPr marL="2097908" indent="0">
              <a:buNone/>
              <a:defRPr sz="5506"/>
            </a:lvl3pPr>
            <a:lvl4pPr marL="3146862" indent="0">
              <a:buNone/>
              <a:defRPr sz="4589"/>
            </a:lvl4pPr>
            <a:lvl5pPr marL="4195816" indent="0">
              <a:buNone/>
              <a:defRPr sz="4589"/>
            </a:lvl5pPr>
            <a:lvl6pPr marL="5244770" indent="0">
              <a:buNone/>
              <a:defRPr sz="4589"/>
            </a:lvl6pPr>
            <a:lvl7pPr marL="6293724" indent="0">
              <a:buNone/>
              <a:defRPr sz="4589"/>
            </a:lvl7pPr>
            <a:lvl8pPr marL="7342678" indent="0">
              <a:buNone/>
              <a:defRPr sz="4589"/>
            </a:lvl8pPr>
            <a:lvl9pPr marL="8391632" indent="0">
              <a:buNone/>
              <a:defRPr sz="4589"/>
            </a:lvl9pPr>
          </a:lstStyle>
          <a:p>
            <a:r>
              <a:rPr lang="de-DE" dirty="0"/>
              <a:t>Bild durch Klicken auf Symbol hinzufü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26702" y="4773454"/>
            <a:ext cx="9021617" cy="8843414"/>
          </a:xfrm>
        </p:spPr>
        <p:txBody>
          <a:bodyPr/>
          <a:lstStyle>
            <a:lvl1pPr marL="0" indent="0">
              <a:buNone/>
              <a:defRPr sz="3671"/>
            </a:lvl1pPr>
            <a:lvl2pPr marL="1048954" indent="0">
              <a:buNone/>
              <a:defRPr sz="3212"/>
            </a:lvl2pPr>
            <a:lvl3pPr marL="2097908" indent="0">
              <a:buNone/>
              <a:defRPr sz="2753"/>
            </a:lvl3pPr>
            <a:lvl4pPr marL="3146862" indent="0">
              <a:buNone/>
              <a:defRPr sz="2294"/>
            </a:lvl4pPr>
            <a:lvl5pPr marL="4195816" indent="0">
              <a:buNone/>
              <a:defRPr sz="2294"/>
            </a:lvl5pPr>
            <a:lvl6pPr marL="5244770" indent="0">
              <a:buNone/>
              <a:defRPr sz="2294"/>
            </a:lvl6pPr>
            <a:lvl7pPr marL="6293724" indent="0">
              <a:buNone/>
              <a:defRPr sz="2294"/>
            </a:lvl7pPr>
            <a:lvl8pPr marL="7342678" indent="0">
              <a:buNone/>
              <a:defRPr sz="2294"/>
            </a:lvl8pPr>
            <a:lvl9pPr marL="8391632" indent="0">
              <a:buNone/>
              <a:defRPr sz="2294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A77FC1-487C-4CAA-9AC1-9D9C7304D537}" type="datetimeFigureOut">
              <a:rPr lang="de-CH" smtClean="0"/>
              <a:t>12.12.2021</a:t>
            </a:fld>
            <a:endParaRPr lang="de-CH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CF00EE-2EED-44D8-853A-76A2A1C6C6BF}" type="slidenum">
              <a:rPr lang="de-CH" smtClean="0"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22661970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8582619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6" name="think-cell Folie" r:id="rId15" imgW="416" imgH="416" progId="TCLayout.ActiveDocument.1">
                  <p:embed/>
                </p:oleObj>
              </mc:Choice>
              <mc:Fallback>
                <p:oleObj name="think-cell Folie" r:id="rId1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923058" y="847142"/>
            <a:ext cx="24125634" cy="30754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923058" y="4235704"/>
            <a:ext cx="24125634" cy="1009570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923058" y="14747616"/>
            <a:ext cx="6293644" cy="8471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275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8A77FC1-487C-4CAA-9AC1-9D9C7304D537}" type="datetimeFigureOut">
              <a:rPr lang="de-CH" smtClean="0"/>
              <a:t>12.12.2021</a:t>
            </a:fld>
            <a:endParaRPr lang="de-CH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265642" y="14747616"/>
            <a:ext cx="9440466" cy="8471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275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CH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9755048" y="14747616"/>
            <a:ext cx="6293644" cy="8471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75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3CF00EE-2EED-44D8-853A-76A2A1C6C6BF}" type="slidenum">
              <a:rPr lang="de-CH" smtClean="0"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0276563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2097908" rtl="0" eaLnBrk="1" latinLnBrk="0" hangingPunct="1">
        <a:lnSpc>
          <a:spcPct val="90000"/>
        </a:lnSpc>
        <a:spcBef>
          <a:spcPct val="0"/>
        </a:spcBef>
        <a:buNone/>
        <a:defRPr sz="1009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524477" indent="-524477" algn="l" defTabSz="2097908" rtl="0" eaLnBrk="1" latinLnBrk="0" hangingPunct="1">
        <a:lnSpc>
          <a:spcPct val="90000"/>
        </a:lnSpc>
        <a:spcBef>
          <a:spcPts val="2294"/>
        </a:spcBef>
        <a:buFont typeface="Arial" panose="020B0604020202020204" pitchFamily="34" charset="0"/>
        <a:buChar char="•"/>
        <a:defRPr sz="6424" kern="1200">
          <a:solidFill>
            <a:schemeClr val="tx1"/>
          </a:solidFill>
          <a:latin typeface="+mn-lt"/>
          <a:ea typeface="+mn-ea"/>
          <a:cs typeface="+mn-cs"/>
        </a:defRPr>
      </a:lvl1pPr>
      <a:lvl2pPr marL="1573431" indent="-524477" algn="l" defTabSz="2097908" rtl="0" eaLnBrk="1" latinLnBrk="0" hangingPunct="1">
        <a:lnSpc>
          <a:spcPct val="90000"/>
        </a:lnSpc>
        <a:spcBef>
          <a:spcPts val="1147"/>
        </a:spcBef>
        <a:buFont typeface="Arial" panose="020B0604020202020204" pitchFamily="34" charset="0"/>
        <a:buChar char="•"/>
        <a:defRPr sz="5506" kern="1200">
          <a:solidFill>
            <a:schemeClr val="tx1"/>
          </a:solidFill>
          <a:latin typeface="+mn-lt"/>
          <a:ea typeface="+mn-ea"/>
          <a:cs typeface="+mn-cs"/>
        </a:defRPr>
      </a:lvl2pPr>
      <a:lvl3pPr marL="2622385" indent="-524477" algn="l" defTabSz="2097908" rtl="0" eaLnBrk="1" latinLnBrk="0" hangingPunct="1">
        <a:lnSpc>
          <a:spcPct val="90000"/>
        </a:lnSpc>
        <a:spcBef>
          <a:spcPts val="1147"/>
        </a:spcBef>
        <a:buFont typeface="Arial" panose="020B0604020202020204" pitchFamily="34" charset="0"/>
        <a:buChar char="•"/>
        <a:defRPr sz="4589" kern="1200">
          <a:solidFill>
            <a:schemeClr val="tx1"/>
          </a:solidFill>
          <a:latin typeface="+mn-lt"/>
          <a:ea typeface="+mn-ea"/>
          <a:cs typeface="+mn-cs"/>
        </a:defRPr>
      </a:lvl3pPr>
      <a:lvl4pPr marL="3671339" indent="-524477" algn="l" defTabSz="2097908" rtl="0" eaLnBrk="1" latinLnBrk="0" hangingPunct="1">
        <a:lnSpc>
          <a:spcPct val="90000"/>
        </a:lnSpc>
        <a:spcBef>
          <a:spcPts val="1147"/>
        </a:spcBef>
        <a:buFont typeface="Arial" panose="020B0604020202020204" pitchFamily="34" charset="0"/>
        <a:buChar char="•"/>
        <a:defRPr sz="4130" kern="1200">
          <a:solidFill>
            <a:schemeClr val="tx1"/>
          </a:solidFill>
          <a:latin typeface="+mn-lt"/>
          <a:ea typeface="+mn-ea"/>
          <a:cs typeface="+mn-cs"/>
        </a:defRPr>
      </a:lvl4pPr>
      <a:lvl5pPr marL="4720293" indent="-524477" algn="l" defTabSz="2097908" rtl="0" eaLnBrk="1" latinLnBrk="0" hangingPunct="1">
        <a:lnSpc>
          <a:spcPct val="90000"/>
        </a:lnSpc>
        <a:spcBef>
          <a:spcPts val="1147"/>
        </a:spcBef>
        <a:buFont typeface="Arial" panose="020B0604020202020204" pitchFamily="34" charset="0"/>
        <a:buChar char="•"/>
        <a:defRPr sz="4130" kern="1200">
          <a:solidFill>
            <a:schemeClr val="tx1"/>
          </a:solidFill>
          <a:latin typeface="+mn-lt"/>
          <a:ea typeface="+mn-ea"/>
          <a:cs typeface="+mn-cs"/>
        </a:defRPr>
      </a:lvl5pPr>
      <a:lvl6pPr marL="5769247" indent="-524477" algn="l" defTabSz="2097908" rtl="0" eaLnBrk="1" latinLnBrk="0" hangingPunct="1">
        <a:lnSpc>
          <a:spcPct val="90000"/>
        </a:lnSpc>
        <a:spcBef>
          <a:spcPts val="1147"/>
        </a:spcBef>
        <a:buFont typeface="Arial" panose="020B0604020202020204" pitchFamily="34" charset="0"/>
        <a:buChar char="•"/>
        <a:defRPr sz="4130" kern="1200">
          <a:solidFill>
            <a:schemeClr val="tx1"/>
          </a:solidFill>
          <a:latin typeface="+mn-lt"/>
          <a:ea typeface="+mn-ea"/>
          <a:cs typeface="+mn-cs"/>
        </a:defRPr>
      </a:lvl6pPr>
      <a:lvl7pPr marL="6818201" indent="-524477" algn="l" defTabSz="2097908" rtl="0" eaLnBrk="1" latinLnBrk="0" hangingPunct="1">
        <a:lnSpc>
          <a:spcPct val="90000"/>
        </a:lnSpc>
        <a:spcBef>
          <a:spcPts val="1147"/>
        </a:spcBef>
        <a:buFont typeface="Arial" panose="020B0604020202020204" pitchFamily="34" charset="0"/>
        <a:buChar char="•"/>
        <a:defRPr sz="4130" kern="1200">
          <a:solidFill>
            <a:schemeClr val="tx1"/>
          </a:solidFill>
          <a:latin typeface="+mn-lt"/>
          <a:ea typeface="+mn-ea"/>
          <a:cs typeface="+mn-cs"/>
        </a:defRPr>
      </a:lvl7pPr>
      <a:lvl8pPr marL="7867155" indent="-524477" algn="l" defTabSz="2097908" rtl="0" eaLnBrk="1" latinLnBrk="0" hangingPunct="1">
        <a:lnSpc>
          <a:spcPct val="90000"/>
        </a:lnSpc>
        <a:spcBef>
          <a:spcPts val="1147"/>
        </a:spcBef>
        <a:buFont typeface="Arial" panose="020B0604020202020204" pitchFamily="34" charset="0"/>
        <a:buChar char="•"/>
        <a:defRPr sz="4130" kern="1200">
          <a:solidFill>
            <a:schemeClr val="tx1"/>
          </a:solidFill>
          <a:latin typeface="+mn-lt"/>
          <a:ea typeface="+mn-ea"/>
          <a:cs typeface="+mn-cs"/>
        </a:defRPr>
      </a:lvl8pPr>
      <a:lvl9pPr marL="8916109" indent="-524477" algn="l" defTabSz="2097908" rtl="0" eaLnBrk="1" latinLnBrk="0" hangingPunct="1">
        <a:lnSpc>
          <a:spcPct val="90000"/>
        </a:lnSpc>
        <a:spcBef>
          <a:spcPts val="1147"/>
        </a:spcBef>
        <a:buFont typeface="Arial" panose="020B0604020202020204" pitchFamily="34" charset="0"/>
        <a:buChar char="•"/>
        <a:defRPr sz="413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2097908" rtl="0" eaLnBrk="1" latinLnBrk="0" hangingPunct="1">
        <a:defRPr sz="4130" kern="1200">
          <a:solidFill>
            <a:schemeClr val="tx1"/>
          </a:solidFill>
          <a:latin typeface="+mn-lt"/>
          <a:ea typeface="+mn-ea"/>
          <a:cs typeface="+mn-cs"/>
        </a:defRPr>
      </a:lvl1pPr>
      <a:lvl2pPr marL="1048954" algn="l" defTabSz="2097908" rtl="0" eaLnBrk="1" latinLnBrk="0" hangingPunct="1">
        <a:defRPr sz="4130" kern="1200">
          <a:solidFill>
            <a:schemeClr val="tx1"/>
          </a:solidFill>
          <a:latin typeface="+mn-lt"/>
          <a:ea typeface="+mn-ea"/>
          <a:cs typeface="+mn-cs"/>
        </a:defRPr>
      </a:lvl2pPr>
      <a:lvl3pPr marL="2097908" algn="l" defTabSz="2097908" rtl="0" eaLnBrk="1" latinLnBrk="0" hangingPunct="1">
        <a:defRPr sz="4130" kern="1200">
          <a:solidFill>
            <a:schemeClr val="tx1"/>
          </a:solidFill>
          <a:latin typeface="+mn-lt"/>
          <a:ea typeface="+mn-ea"/>
          <a:cs typeface="+mn-cs"/>
        </a:defRPr>
      </a:lvl3pPr>
      <a:lvl4pPr marL="3146862" algn="l" defTabSz="2097908" rtl="0" eaLnBrk="1" latinLnBrk="0" hangingPunct="1">
        <a:defRPr sz="4130" kern="1200">
          <a:solidFill>
            <a:schemeClr val="tx1"/>
          </a:solidFill>
          <a:latin typeface="+mn-lt"/>
          <a:ea typeface="+mn-ea"/>
          <a:cs typeface="+mn-cs"/>
        </a:defRPr>
      </a:lvl4pPr>
      <a:lvl5pPr marL="4195816" algn="l" defTabSz="2097908" rtl="0" eaLnBrk="1" latinLnBrk="0" hangingPunct="1">
        <a:defRPr sz="4130" kern="1200">
          <a:solidFill>
            <a:schemeClr val="tx1"/>
          </a:solidFill>
          <a:latin typeface="+mn-lt"/>
          <a:ea typeface="+mn-ea"/>
          <a:cs typeface="+mn-cs"/>
        </a:defRPr>
      </a:lvl5pPr>
      <a:lvl6pPr marL="5244770" algn="l" defTabSz="2097908" rtl="0" eaLnBrk="1" latinLnBrk="0" hangingPunct="1">
        <a:defRPr sz="4130" kern="1200">
          <a:solidFill>
            <a:schemeClr val="tx1"/>
          </a:solidFill>
          <a:latin typeface="+mn-lt"/>
          <a:ea typeface="+mn-ea"/>
          <a:cs typeface="+mn-cs"/>
        </a:defRPr>
      </a:lvl6pPr>
      <a:lvl7pPr marL="6293724" algn="l" defTabSz="2097908" rtl="0" eaLnBrk="1" latinLnBrk="0" hangingPunct="1">
        <a:defRPr sz="4130" kern="1200">
          <a:solidFill>
            <a:schemeClr val="tx1"/>
          </a:solidFill>
          <a:latin typeface="+mn-lt"/>
          <a:ea typeface="+mn-ea"/>
          <a:cs typeface="+mn-cs"/>
        </a:defRPr>
      </a:lvl7pPr>
      <a:lvl8pPr marL="7342678" algn="l" defTabSz="2097908" rtl="0" eaLnBrk="1" latinLnBrk="0" hangingPunct="1">
        <a:defRPr sz="4130" kern="1200">
          <a:solidFill>
            <a:schemeClr val="tx1"/>
          </a:solidFill>
          <a:latin typeface="+mn-lt"/>
          <a:ea typeface="+mn-ea"/>
          <a:cs typeface="+mn-cs"/>
        </a:defRPr>
      </a:lvl8pPr>
      <a:lvl9pPr marL="8391632" algn="l" defTabSz="2097908" rtl="0" eaLnBrk="1" latinLnBrk="0" hangingPunct="1">
        <a:defRPr sz="413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hyperlink" Target="mailto:info@garnelenmarkt.ch" TargetMode="External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9.emf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image" Target="../media/image16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9.emf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image" Target="../media/image17.jp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9.emf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image" Target="../media/image18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8.jp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10" Type="http://schemas.openxmlformats.org/officeDocument/2006/relationships/image" Target="../media/image9.emf"/><Relationship Id="rId4" Type="http://schemas.openxmlformats.org/officeDocument/2006/relationships/image" Target="../media/image5.png"/><Relationship Id="rId9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9.emf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1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9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9.emf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image" Target="../media/image1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9.emf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image" Target="../media/image1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9.emf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image" Target="../media/image15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/>
          <p:cNvSpPr/>
          <p:nvPr/>
        </p:nvSpPr>
        <p:spPr>
          <a:xfrm rot="21169061">
            <a:off x="22684178" y="12388330"/>
            <a:ext cx="4610100" cy="127345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0" name="Textfeld 9"/>
          <p:cNvSpPr txBox="1"/>
          <p:nvPr/>
        </p:nvSpPr>
        <p:spPr>
          <a:xfrm>
            <a:off x="1671144" y="1109561"/>
            <a:ext cx="14882649" cy="450892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CH" sz="28700" b="1" dirty="0">
                <a:ln w="17780" cmpd="sng">
                  <a:solidFill>
                    <a:srgbClr val="FFFFFF"/>
                  </a:solidFill>
                  <a:prstDash val="solid"/>
                  <a:miter lim="800000"/>
                </a:ln>
                <a:gradFill rotWithShape="1">
                  <a:gsLst>
                    <a:gs pos="0">
                      <a:srgbClr val="000000">
                        <a:tint val="92000"/>
                        <a:shade val="100000"/>
                        <a:satMod val="150000"/>
                      </a:srgbClr>
                    </a:gs>
                    <a:gs pos="49000">
                      <a:srgbClr val="000000">
                        <a:tint val="89000"/>
                        <a:shade val="90000"/>
                        <a:satMod val="150000"/>
                      </a:srgbClr>
                    </a:gs>
                    <a:gs pos="50000">
                      <a:srgbClr val="000000">
                        <a:tint val="100000"/>
                        <a:shade val="75000"/>
                        <a:satMod val="150000"/>
                      </a:srgbClr>
                    </a:gs>
                    <a:gs pos="95000">
                      <a:srgbClr val="000000">
                        <a:shade val="47000"/>
                        <a:satMod val="150000"/>
                      </a:srgbClr>
                    </a:gs>
                    <a:gs pos="100000">
                      <a:srgbClr val="000000">
                        <a:shade val="39000"/>
                        <a:satMod val="150000"/>
                      </a:srgbClr>
                    </a:gs>
                  </a:gsLst>
                  <a:lin ang="5400000"/>
                </a:gradFill>
                <a:effectLst>
                  <a:outerShdw blurRad="50800" algn="tl" rotWithShape="0">
                    <a:srgbClr val="000000"/>
                  </a:outerShdw>
                </a:effectLst>
                <a:latin typeface="Impact" panose="020B0806030902050204" pitchFamily="34" charset="0"/>
              </a:rPr>
              <a:t>Aktionen</a:t>
            </a:r>
          </a:p>
        </p:txBody>
      </p:sp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370563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1" name="think-cell Folie" r:id="rId4" imgW="416" imgH="416" progId="TCLayout.ActiveDocument.1">
                  <p:embed/>
                </p:oleObj>
              </mc:Choice>
              <mc:Fallback>
                <p:oleObj name="think-cell Folie" r:id="rId4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168" name="Picture 96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41717" y="7131654"/>
            <a:ext cx="4160849" cy="279371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3" name="Rechteck 2">
            <a:extLst>
              <a:ext uri="{FF2B5EF4-FFF2-40B4-BE49-F238E27FC236}">
                <a16:creationId xmlns:a16="http://schemas.microsoft.com/office/drawing/2014/main" id="{0A2AE86A-7DF0-404C-80A9-5CA44AAD3723}"/>
              </a:ext>
            </a:extLst>
          </p:cNvPr>
          <p:cNvSpPr/>
          <p:nvPr/>
        </p:nvSpPr>
        <p:spPr>
          <a:xfrm>
            <a:off x="11128917" y="8452624"/>
            <a:ext cx="2856958" cy="2966225"/>
          </a:xfrm>
          <a:prstGeom prst="rect">
            <a:avLst/>
          </a:prstGeom>
          <a:solidFill>
            <a:srgbClr val="AFCB0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578759C0-646C-4007-B382-5999F9749EB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4902530" y="4754471"/>
            <a:ext cx="6472528" cy="5953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377913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90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215945" y="1086141"/>
            <a:ext cx="9461719" cy="86683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feld 9"/>
          <p:cNvSpPr txBox="1"/>
          <p:nvPr/>
        </p:nvSpPr>
        <p:spPr>
          <a:xfrm>
            <a:off x="2270235" y="833894"/>
            <a:ext cx="14945710" cy="64633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800" b="1" dirty="0" err="1">
                <a:ln w="17780" cmpd="sng">
                  <a:solidFill>
                    <a:srgbClr val="FFFFFF"/>
                  </a:solidFill>
                  <a:prstDash val="solid"/>
                  <a:miter lim="800000"/>
                </a:ln>
                <a:gradFill rotWithShape="1">
                  <a:gsLst>
                    <a:gs pos="0">
                      <a:srgbClr val="000000">
                        <a:tint val="92000"/>
                        <a:shade val="100000"/>
                        <a:satMod val="150000"/>
                      </a:srgbClr>
                    </a:gs>
                    <a:gs pos="49000">
                      <a:srgbClr val="000000">
                        <a:tint val="89000"/>
                        <a:shade val="90000"/>
                        <a:satMod val="150000"/>
                      </a:srgbClr>
                    </a:gs>
                    <a:gs pos="50000">
                      <a:srgbClr val="000000">
                        <a:tint val="100000"/>
                        <a:shade val="75000"/>
                        <a:satMod val="150000"/>
                      </a:srgbClr>
                    </a:gs>
                    <a:gs pos="95000">
                      <a:srgbClr val="000000">
                        <a:shade val="47000"/>
                        <a:satMod val="150000"/>
                      </a:srgbClr>
                    </a:gs>
                    <a:gs pos="100000">
                      <a:srgbClr val="000000">
                        <a:shade val="39000"/>
                        <a:satMod val="150000"/>
                      </a:srgbClr>
                    </a:gs>
                  </a:gsLst>
                  <a:lin ang="5400000"/>
                </a:gradFill>
                <a:effectLst>
                  <a:outerShdw blurRad="50800" algn="tl" rotWithShape="0">
                    <a:srgbClr val="000000"/>
                  </a:outerShdw>
                </a:effectLst>
                <a:latin typeface="Impact" panose="020B0806030902050204" pitchFamily="34" charset="0"/>
              </a:rPr>
              <a:t>Gebrauchtes</a:t>
            </a:r>
            <a:r>
              <a:rPr lang="en-US" sz="13800" b="1" dirty="0">
                <a:ln w="17780" cmpd="sng">
                  <a:solidFill>
                    <a:srgbClr val="FFFFFF"/>
                  </a:solidFill>
                  <a:prstDash val="solid"/>
                  <a:miter lim="800000"/>
                </a:ln>
                <a:gradFill rotWithShape="1">
                  <a:gsLst>
                    <a:gs pos="0">
                      <a:srgbClr val="000000">
                        <a:tint val="92000"/>
                        <a:shade val="100000"/>
                        <a:satMod val="150000"/>
                      </a:srgbClr>
                    </a:gs>
                    <a:gs pos="49000">
                      <a:srgbClr val="000000">
                        <a:tint val="89000"/>
                        <a:shade val="90000"/>
                        <a:satMod val="150000"/>
                      </a:srgbClr>
                    </a:gs>
                    <a:gs pos="50000">
                      <a:srgbClr val="000000">
                        <a:tint val="100000"/>
                        <a:shade val="75000"/>
                        <a:satMod val="150000"/>
                      </a:srgbClr>
                    </a:gs>
                    <a:gs pos="95000">
                      <a:srgbClr val="000000">
                        <a:shade val="47000"/>
                        <a:satMod val="150000"/>
                      </a:srgbClr>
                    </a:gs>
                    <a:gs pos="100000">
                      <a:srgbClr val="000000">
                        <a:shade val="39000"/>
                        <a:satMod val="150000"/>
                      </a:srgbClr>
                    </a:gs>
                  </a:gsLst>
                  <a:lin ang="5400000"/>
                </a:gradFill>
                <a:effectLst>
                  <a:outerShdw blurRad="50800" algn="tl" rotWithShape="0">
                    <a:srgbClr val="000000"/>
                  </a:outerShdw>
                </a:effectLst>
                <a:latin typeface="Impact" panose="020B0806030902050204" pitchFamily="34" charset="0"/>
              </a:rPr>
              <a:t> </a:t>
            </a:r>
          </a:p>
          <a:p>
            <a:r>
              <a:rPr lang="en-US" sz="13800" b="1" dirty="0">
                <a:ln w="17780" cmpd="sng">
                  <a:solidFill>
                    <a:srgbClr val="FFFFFF"/>
                  </a:solidFill>
                  <a:prstDash val="solid"/>
                  <a:miter lim="800000"/>
                </a:ln>
                <a:gradFill rotWithShape="1">
                  <a:gsLst>
                    <a:gs pos="0">
                      <a:srgbClr val="000000">
                        <a:tint val="92000"/>
                        <a:shade val="100000"/>
                        <a:satMod val="150000"/>
                      </a:srgbClr>
                    </a:gs>
                    <a:gs pos="49000">
                      <a:srgbClr val="000000">
                        <a:tint val="89000"/>
                        <a:shade val="90000"/>
                        <a:satMod val="150000"/>
                      </a:srgbClr>
                    </a:gs>
                    <a:gs pos="50000">
                      <a:srgbClr val="000000">
                        <a:tint val="100000"/>
                        <a:shade val="75000"/>
                        <a:satMod val="150000"/>
                      </a:srgbClr>
                    </a:gs>
                    <a:gs pos="95000">
                      <a:srgbClr val="000000">
                        <a:shade val="47000"/>
                        <a:satMod val="150000"/>
                      </a:srgbClr>
                    </a:gs>
                    <a:gs pos="100000">
                      <a:srgbClr val="000000">
                        <a:shade val="39000"/>
                        <a:satMod val="150000"/>
                      </a:srgbClr>
                    </a:gs>
                  </a:gsLst>
                  <a:lin ang="5400000"/>
                </a:gradFill>
                <a:effectLst>
                  <a:outerShdw blurRad="50800" algn="tl" rotWithShape="0">
                    <a:srgbClr val="000000"/>
                  </a:outerShdw>
                </a:effectLst>
                <a:latin typeface="Impact" panose="020B0806030902050204" pitchFamily="34" charset="0"/>
              </a:rPr>
              <a:t>EHEIM </a:t>
            </a:r>
            <a:r>
              <a:rPr lang="en-US" sz="13800" b="1" dirty="0" err="1">
                <a:ln w="17780" cmpd="sng">
                  <a:solidFill>
                    <a:srgbClr val="FFFFFF"/>
                  </a:solidFill>
                  <a:prstDash val="solid"/>
                  <a:miter lim="800000"/>
                </a:ln>
                <a:gradFill rotWithShape="1">
                  <a:gsLst>
                    <a:gs pos="0">
                      <a:srgbClr val="000000">
                        <a:tint val="92000"/>
                        <a:shade val="100000"/>
                        <a:satMod val="150000"/>
                      </a:srgbClr>
                    </a:gs>
                    <a:gs pos="49000">
                      <a:srgbClr val="000000">
                        <a:tint val="89000"/>
                        <a:shade val="90000"/>
                        <a:satMod val="150000"/>
                      </a:srgbClr>
                    </a:gs>
                    <a:gs pos="50000">
                      <a:srgbClr val="000000">
                        <a:tint val="100000"/>
                        <a:shade val="75000"/>
                        <a:satMod val="150000"/>
                      </a:srgbClr>
                    </a:gs>
                    <a:gs pos="95000">
                      <a:srgbClr val="000000">
                        <a:shade val="47000"/>
                        <a:satMod val="150000"/>
                      </a:srgbClr>
                    </a:gs>
                    <a:gs pos="100000">
                      <a:srgbClr val="000000">
                        <a:shade val="39000"/>
                        <a:satMod val="150000"/>
                      </a:srgbClr>
                    </a:gs>
                  </a:gsLst>
                  <a:lin ang="5400000"/>
                </a:gradFill>
                <a:effectLst>
                  <a:outerShdw blurRad="50800" algn="tl" rotWithShape="0">
                    <a:srgbClr val="000000"/>
                  </a:outerShdw>
                </a:effectLst>
                <a:latin typeface="Impact" panose="020B0806030902050204" pitchFamily="34" charset="0"/>
              </a:rPr>
              <a:t>Aquastyle</a:t>
            </a:r>
            <a:r>
              <a:rPr lang="en-US" sz="13800" b="1" dirty="0">
                <a:ln w="17780" cmpd="sng">
                  <a:solidFill>
                    <a:srgbClr val="FFFFFF"/>
                  </a:solidFill>
                  <a:prstDash val="solid"/>
                  <a:miter lim="800000"/>
                </a:ln>
                <a:gradFill rotWithShape="1">
                  <a:gsLst>
                    <a:gs pos="0">
                      <a:srgbClr val="000000">
                        <a:tint val="92000"/>
                        <a:shade val="100000"/>
                        <a:satMod val="150000"/>
                      </a:srgbClr>
                    </a:gs>
                    <a:gs pos="49000">
                      <a:srgbClr val="000000">
                        <a:tint val="89000"/>
                        <a:shade val="90000"/>
                        <a:satMod val="150000"/>
                      </a:srgbClr>
                    </a:gs>
                    <a:gs pos="50000">
                      <a:srgbClr val="000000">
                        <a:tint val="100000"/>
                        <a:shade val="75000"/>
                        <a:satMod val="150000"/>
                      </a:srgbClr>
                    </a:gs>
                    <a:gs pos="95000">
                      <a:srgbClr val="000000">
                        <a:shade val="47000"/>
                        <a:satMod val="150000"/>
                      </a:srgbClr>
                    </a:gs>
                    <a:gs pos="100000">
                      <a:srgbClr val="000000">
                        <a:shade val="39000"/>
                        <a:satMod val="150000"/>
                      </a:srgbClr>
                    </a:gs>
                  </a:gsLst>
                  <a:lin ang="5400000"/>
                </a:gradFill>
                <a:effectLst>
                  <a:outerShdw blurRad="50800" algn="tl" rotWithShape="0">
                    <a:srgbClr val="000000"/>
                  </a:outerShdw>
                </a:effectLst>
                <a:latin typeface="Impact" panose="020B0806030902050204" pitchFamily="34" charset="0"/>
              </a:rPr>
              <a:t> 16 - </a:t>
            </a:r>
            <a:r>
              <a:rPr lang="en-US" sz="13800" b="1" dirty="0" err="1">
                <a:ln w="17780" cmpd="sng">
                  <a:solidFill>
                    <a:srgbClr val="FFFFFF"/>
                  </a:solidFill>
                  <a:prstDash val="solid"/>
                  <a:miter lim="800000"/>
                </a:ln>
                <a:gradFill rotWithShape="1">
                  <a:gsLst>
                    <a:gs pos="0">
                      <a:srgbClr val="000000">
                        <a:tint val="92000"/>
                        <a:shade val="100000"/>
                        <a:satMod val="150000"/>
                      </a:srgbClr>
                    </a:gs>
                    <a:gs pos="49000">
                      <a:srgbClr val="000000">
                        <a:tint val="89000"/>
                        <a:shade val="90000"/>
                        <a:satMod val="150000"/>
                      </a:srgbClr>
                    </a:gs>
                    <a:gs pos="50000">
                      <a:srgbClr val="000000">
                        <a:tint val="100000"/>
                        <a:shade val="75000"/>
                        <a:satMod val="150000"/>
                      </a:srgbClr>
                    </a:gs>
                    <a:gs pos="95000">
                      <a:srgbClr val="000000">
                        <a:shade val="47000"/>
                        <a:satMod val="150000"/>
                      </a:srgbClr>
                    </a:gs>
                    <a:gs pos="100000">
                      <a:srgbClr val="000000">
                        <a:shade val="39000"/>
                        <a:satMod val="150000"/>
                      </a:srgbClr>
                    </a:gs>
                  </a:gsLst>
                  <a:lin ang="5400000"/>
                </a:gradFill>
                <a:effectLst>
                  <a:outerShdw blurRad="50800" algn="tl" rotWithShape="0">
                    <a:srgbClr val="000000"/>
                  </a:outerShdw>
                </a:effectLst>
                <a:latin typeface="Impact" panose="020B0806030902050204" pitchFamily="34" charset="0"/>
              </a:rPr>
              <a:t>Komplett</a:t>
            </a:r>
            <a:r>
              <a:rPr lang="en-US" sz="13800" b="1" dirty="0">
                <a:ln w="17780" cmpd="sng">
                  <a:solidFill>
                    <a:srgbClr val="FFFFFF"/>
                  </a:solidFill>
                  <a:prstDash val="solid"/>
                  <a:miter lim="800000"/>
                </a:ln>
                <a:gradFill rotWithShape="1">
                  <a:gsLst>
                    <a:gs pos="0">
                      <a:srgbClr val="000000">
                        <a:tint val="92000"/>
                        <a:shade val="100000"/>
                        <a:satMod val="150000"/>
                      </a:srgbClr>
                    </a:gs>
                    <a:gs pos="49000">
                      <a:srgbClr val="000000">
                        <a:tint val="89000"/>
                        <a:shade val="90000"/>
                        <a:satMod val="150000"/>
                      </a:srgbClr>
                    </a:gs>
                    <a:gs pos="50000">
                      <a:srgbClr val="000000">
                        <a:tint val="100000"/>
                        <a:shade val="75000"/>
                        <a:satMod val="150000"/>
                      </a:srgbClr>
                    </a:gs>
                    <a:gs pos="95000">
                      <a:srgbClr val="000000">
                        <a:shade val="47000"/>
                        <a:satMod val="150000"/>
                      </a:srgbClr>
                    </a:gs>
                    <a:gs pos="100000">
                      <a:srgbClr val="000000">
                        <a:shade val="39000"/>
                        <a:satMod val="150000"/>
                      </a:srgbClr>
                    </a:gs>
                  </a:gsLst>
                  <a:lin ang="5400000"/>
                </a:gradFill>
                <a:effectLst>
                  <a:outerShdw blurRad="50800" algn="tl" rotWithShape="0">
                    <a:srgbClr val="000000"/>
                  </a:outerShdw>
                </a:effectLst>
                <a:latin typeface="Impact" panose="020B0806030902050204" pitchFamily="34" charset="0"/>
              </a:rPr>
              <a:t>-Set</a:t>
            </a:r>
            <a:endParaRPr lang="en-US" sz="6000" b="1" dirty="0">
              <a:ln w="17780" cmpd="sng">
                <a:solidFill>
                  <a:srgbClr val="FFFFFF"/>
                </a:solidFill>
                <a:prstDash val="solid"/>
                <a:miter lim="800000"/>
              </a:ln>
              <a:gradFill rotWithShape="1">
                <a:gsLst>
                  <a:gs pos="0">
                    <a:srgbClr val="000000">
                      <a:tint val="92000"/>
                      <a:shade val="100000"/>
                      <a:satMod val="150000"/>
                    </a:srgbClr>
                  </a:gs>
                  <a:gs pos="49000">
                    <a:srgbClr val="000000">
                      <a:tint val="89000"/>
                      <a:shade val="90000"/>
                      <a:satMod val="150000"/>
                    </a:srgbClr>
                  </a:gs>
                  <a:gs pos="50000">
                    <a:srgbClr val="000000">
                      <a:tint val="100000"/>
                      <a:shade val="75000"/>
                      <a:satMod val="150000"/>
                    </a:srgbClr>
                  </a:gs>
                  <a:gs pos="95000">
                    <a:srgbClr val="000000">
                      <a:shade val="47000"/>
                      <a:satMod val="150000"/>
                    </a:srgbClr>
                  </a:gs>
                  <a:gs pos="100000">
                    <a:srgbClr val="000000">
                      <a:shade val="39000"/>
                      <a:satMod val="150000"/>
                    </a:srgbClr>
                  </a:gs>
                </a:gsLst>
                <a:lin ang="5400000"/>
              </a:gradFill>
              <a:latin typeface="Arial Black" panose="020B0A04020102020204" pitchFamily="34" charset="0"/>
            </a:endParaRPr>
          </a:p>
        </p:txBody>
      </p:sp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960453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61" name="think-cell Folie" r:id="rId5" imgW="416" imgH="416" progId="TCLayout.ActiveDocument.1">
                  <p:embed/>
                </p:oleObj>
              </mc:Choice>
              <mc:Fallback>
                <p:oleObj name="think-cell Folie" r:id="rId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2" name="Gruppieren 11"/>
          <p:cNvGrpSpPr>
            <a:grpSpLocks noChangeAspect="1"/>
          </p:cNvGrpSpPr>
          <p:nvPr/>
        </p:nvGrpSpPr>
        <p:grpSpPr>
          <a:xfrm>
            <a:off x="12158457" y="5295097"/>
            <a:ext cx="7726336" cy="7143842"/>
            <a:chOff x="7453878" y="349622"/>
            <a:chExt cx="2320725" cy="2145764"/>
          </a:xfrm>
        </p:grpSpPr>
        <p:pic>
          <p:nvPicPr>
            <p:cNvPr id="13" name="Grafik 12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7562194" y="349622"/>
              <a:ext cx="2104094" cy="2145764"/>
            </a:xfrm>
            <a:prstGeom prst="rect">
              <a:avLst/>
            </a:prstGeom>
          </p:spPr>
        </p:pic>
        <p:sp>
          <p:nvSpPr>
            <p:cNvPr id="14" name="Textfeld 13"/>
            <p:cNvSpPr txBox="1"/>
            <p:nvPr/>
          </p:nvSpPr>
          <p:spPr>
            <a:xfrm>
              <a:off x="7453878" y="836948"/>
              <a:ext cx="2320725" cy="113245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CH" sz="23900" b="1" dirty="0">
                  <a:ln w="76200" cmpd="sng">
                    <a:solidFill>
                      <a:srgbClr val="FFFFFF"/>
                    </a:solidFill>
                    <a:prstDash val="solid"/>
                    <a:miter lim="800000"/>
                  </a:ln>
                  <a:gradFill rotWithShape="1">
                    <a:gsLst>
                      <a:gs pos="0">
                        <a:srgbClr val="000000">
                          <a:tint val="92000"/>
                          <a:shade val="100000"/>
                          <a:satMod val="150000"/>
                        </a:srgbClr>
                      </a:gs>
                      <a:gs pos="49000">
                        <a:srgbClr val="000000">
                          <a:tint val="89000"/>
                          <a:shade val="90000"/>
                          <a:satMod val="150000"/>
                        </a:srgbClr>
                      </a:gs>
                      <a:gs pos="50000">
                        <a:srgbClr val="000000">
                          <a:tint val="100000"/>
                          <a:shade val="75000"/>
                          <a:satMod val="150000"/>
                        </a:srgbClr>
                      </a:gs>
                      <a:gs pos="95000">
                        <a:srgbClr val="000000">
                          <a:shade val="47000"/>
                          <a:satMod val="150000"/>
                        </a:srgbClr>
                      </a:gs>
                      <a:gs pos="100000">
                        <a:srgbClr val="000000">
                          <a:shade val="39000"/>
                          <a:satMod val="150000"/>
                        </a:srgbClr>
                      </a:gs>
                    </a:gsLst>
                    <a:lin ang="5400000"/>
                  </a:gradFill>
                  <a:effectLst>
                    <a:outerShdw blurRad="50800" algn="tl" rotWithShape="0">
                      <a:srgbClr val="000000"/>
                    </a:outerShdw>
                  </a:effectLst>
                  <a:latin typeface="Impact" panose="020B0806030902050204" pitchFamily="34" charset="0"/>
                </a:rPr>
                <a:t>- 60%</a:t>
              </a:r>
            </a:p>
          </p:txBody>
        </p:sp>
      </p:grpSp>
      <p:sp>
        <p:nvSpPr>
          <p:cNvPr id="4" name="Textfeld 3"/>
          <p:cNvSpPr txBox="1"/>
          <p:nvPr/>
        </p:nvSpPr>
        <p:spPr>
          <a:xfrm>
            <a:off x="18231410" y="10781178"/>
            <a:ext cx="8021412" cy="347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6600" b="1" dirty="0">
                <a:ln w="76200" cmpd="sng">
                  <a:solidFill>
                    <a:srgbClr val="FFFFFF"/>
                  </a:solidFill>
                  <a:prstDash val="solid"/>
                  <a:miter lim="800000"/>
                </a:ln>
                <a:gradFill rotWithShape="1">
                  <a:gsLst>
                    <a:gs pos="0">
                      <a:srgbClr val="000000">
                        <a:tint val="92000"/>
                        <a:shade val="100000"/>
                        <a:satMod val="150000"/>
                      </a:srgbClr>
                    </a:gs>
                    <a:gs pos="49000">
                      <a:srgbClr val="000000">
                        <a:tint val="89000"/>
                        <a:shade val="90000"/>
                        <a:satMod val="150000"/>
                      </a:srgbClr>
                    </a:gs>
                    <a:gs pos="50000">
                      <a:srgbClr val="000000">
                        <a:tint val="100000"/>
                        <a:shade val="75000"/>
                        <a:satMod val="150000"/>
                      </a:srgbClr>
                    </a:gs>
                    <a:gs pos="95000">
                      <a:srgbClr val="000000">
                        <a:shade val="47000"/>
                        <a:satMod val="150000"/>
                      </a:srgbClr>
                    </a:gs>
                    <a:gs pos="100000">
                      <a:srgbClr val="000000">
                        <a:shade val="39000"/>
                        <a:satMod val="150000"/>
                      </a:srgbClr>
                    </a:gs>
                  </a:gsLst>
                  <a:lin ang="5400000"/>
                </a:gradFill>
                <a:effectLst>
                  <a:outerShdw blurRad="50800" algn="tl" rotWithShape="0">
                    <a:srgbClr val="000000"/>
                  </a:outerShdw>
                </a:effectLst>
                <a:latin typeface="Impact" panose="020B0806030902050204" pitchFamily="34" charset="0"/>
              </a:rPr>
              <a:t>CHF 63,5  </a:t>
            </a:r>
            <a:r>
              <a:rPr lang="de-CH" sz="5400" b="1" dirty="0">
                <a:latin typeface="Arial Narrow" panose="020B0606020202030204" pitchFamily="34" charset="0"/>
              </a:rPr>
              <a:t>Neupreis CHF 159,0</a:t>
            </a:r>
          </a:p>
        </p:txBody>
      </p:sp>
      <p:sp>
        <p:nvSpPr>
          <p:cNvPr id="3" name="Textfeld 2"/>
          <p:cNvSpPr txBox="1"/>
          <p:nvPr/>
        </p:nvSpPr>
        <p:spPr>
          <a:xfrm>
            <a:off x="2334547" y="8916370"/>
            <a:ext cx="10184524" cy="47089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6000" b="1" dirty="0">
                <a:latin typeface="Arial Narrow" panose="020B0606020202030204" pitchFamily="34" charset="0"/>
              </a:rPr>
              <a:t>Begutachtung und Abholung an der </a:t>
            </a:r>
            <a:r>
              <a:rPr lang="de-CH" sz="6000" b="1" dirty="0" err="1">
                <a:latin typeface="Arial Narrow" panose="020B0606020202030204" pitchFamily="34" charset="0"/>
              </a:rPr>
              <a:t>Laupenstrasse</a:t>
            </a:r>
            <a:r>
              <a:rPr lang="de-CH" sz="6000" b="1" dirty="0">
                <a:latin typeface="Arial Narrow" panose="020B0606020202030204" pitchFamily="34" charset="0"/>
              </a:rPr>
              <a:t> 10 in Bern. </a:t>
            </a:r>
          </a:p>
          <a:p>
            <a:endParaRPr lang="de-CH" sz="6000" b="1" dirty="0">
              <a:latin typeface="Arial Narrow" panose="020B0606020202030204" pitchFamily="34" charset="0"/>
            </a:endParaRPr>
          </a:p>
          <a:p>
            <a:r>
              <a:rPr lang="de-CH" sz="6000" b="1" dirty="0">
                <a:latin typeface="Arial Narrow" panose="020B0606020202030204" pitchFamily="34" charset="0"/>
              </a:rPr>
              <a:t>Bei Interesse bitte Mitteilung an </a:t>
            </a:r>
            <a:r>
              <a:rPr lang="de-CH" sz="6000" b="1" dirty="0">
                <a:latin typeface="Arial Narrow" panose="020B0606020202030204" pitchFamily="34" charset="0"/>
                <a:hlinkClick r:id="rId8"/>
              </a:rPr>
              <a:t>info@garnelenmarkt.ch</a:t>
            </a:r>
            <a:r>
              <a:rPr lang="de-CH" sz="6000" b="1" dirty="0">
                <a:latin typeface="Arial Narrow" panose="020B060602020203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296984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repeatCount="15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 tmFilter="0, 0; .2, .5; .8, .5; 1, 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0" autoRev="1" fill="hold"/>
                                        <p:tgtEl>
                                          <p:spTgt spid="12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0321" y="1926431"/>
            <a:ext cx="16903654" cy="11263172"/>
          </a:xfrm>
          <a:prstGeom prst="rect">
            <a:avLst/>
          </a:prstGeom>
        </p:spPr>
      </p:pic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785042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83" name="think-cell Folie" r:id="rId5" imgW="416" imgH="416" progId="TCLayout.ActiveDocument.1">
                  <p:embed/>
                </p:oleObj>
              </mc:Choice>
              <mc:Fallback>
                <p:oleObj name="think-cell Folie" r:id="rId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2" name="Gruppieren 11"/>
          <p:cNvGrpSpPr>
            <a:grpSpLocks noChangeAspect="1"/>
          </p:cNvGrpSpPr>
          <p:nvPr/>
        </p:nvGrpSpPr>
        <p:grpSpPr>
          <a:xfrm>
            <a:off x="13330032" y="5580847"/>
            <a:ext cx="7726336" cy="7143842"/>
            <a:chOff x="7453878" y="349622"/>
            <a:chExt cx="2320725" cy="2145764"/>
          </a:xfrm>
        </p:grpSpPr>
        <p:pic>
          <p:nvPicPr>
            <p:cNvPr id="13" name="Grafik 12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7562194" y="349622"/>
              <a:ext cx="2104094" cy="2145764"/>
            </a:xfrm>
            <a:prstGeom prst="rect">
              <a:avLst/>
            </a:prstGeom>
          </p:spPr>
        </p:pic>
        <p:sp>
          <p:nvSpPr>
            <p:cNvPr id="14" name="Textfeld 13"/>
            <p:cNvSpPr txBox="1"/>
            <p:nvPr/>
          </p:nvSpPr>
          <p:spPr>
            <a:xfrm>
              <a:off x="7453878" y="836948"/>
              <a:ext cx="2320725" cy="113245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CH" sz="23900" b="1" dirty="0">
                  <a:ln w="76200" cmpd="sng">
                    <a:solidFill>
                      <a:srgbClr val="FFFFFF"/>
                    </a:solidFill>
                    <a:prstDash val="solid"/>
                    <a:miter lim="800000"/>
                  </a:ln>
                  <a:gradFill rotWithShape="1">
                    <a:gsLst>
                      <a:gs pos="0">
                        <a:srgbClr val="000000">
                          <a:tint val="92000"/>
                          <a:shade val="100000"/>
                          <a:satMod val="150000"/>
                        </a:srgbClr>
                      </a:gs>
                      <a:gs pos="49000">
                        <a:srgbClr val="000000">
                          <a:tint val="89000"/>
                          <a:shade val="90000"/>
                          <a:satMod val="150000"/>
                        </a:srgbClr>
                      </a:gs>
                      <a:gs pos="50000">
                        <a:srgbClr val="000000">
                          <a:tint val="100000"/>
                          <a:shade val="75000"/>
                          <a:satMod val="150000"/>
                        </a:srgbClr>
                      </a:gs>
                      <a:gs pos="95000">
                        <a:srgbClr val="000000">
                          <a:shade val="47000"/>
                          <a:satMod val="150000"/>
                        </a:srgbClr>
                      </a:gs>
                      <a:gs pos="100000">
                        <a:srgbClr val="000000">
                          <a:shade val="39000"/>
                          <a:satMod val="150000"/>
                        </a:srgbClr>
                      </a:gs>
                    </a:gsLst>
                    <a:lin ang="5400000"/>
                  </a:gradFill>
                  <a:effectLst>
                    <a:outerShdw blurRad="50800" algn="tl" rotWithShape="0">
                      <a:srgbClr val="000000"/>
                    </a:outerShdw>
                  </a:effectLst>
                  <a:latin typeface="Impact" panose="020B0806030902050204" pitchFamily="34" charset="0"/>
                </a:rPr>
                <a:t>39.-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446898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repeatCount="15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 tmFilter="0, 0; .2, .5; .8, .5; 1, 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0" autoRev="1" fill="hold"/>
                                        <p:tgtEl>
                                          <p:spTgt spid="12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410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00775" y="2205434"/>
            <a:ext cx="8918575" cy="121122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17847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36" name="think-cell Folie" r:id="rId5" imgW="416" imgH="416" progId="TCLayout.ActiveDocument.1">
                  <p:embed/>
                </p:oleObj>
              </mc:Choice>
              <mc:Fallback>
                <p:oleObj name="think-cell Folie" r:id="rId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2" name="Gruppieren 11"/>
          <p:cNvGrpSpPr>
            <a:grpSpLocks noChangeAspect="1"/>
          </p:cNvGrpSpPr>
          <p:nvPr/>
        </p:nvGrpSpPr>
        <p:grpSpPr>
          <a:xfrm>
            <a:off x="14084755" y="7421760"/>
            <a:ext cx="6609042" cy="6110782"/>
            <a:chOff x="7562194" y="349622"/>
            <a:chExt cx="2320725" cy="2145764"/>
          </a:xfrm>
        </p:grpSpPr>
        <p:pic>
          <p:nvPicPr>
            <p:cNvPr id="13" name="Grafik 12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7562194" y="349622"/>
              <a:ext cx="2104094" cy="2145764"/>
            </a:xfrm>
            <a:prstGeom prst="rect">
              <a:avLst/>
            </a:prstGeom>
          </p:spPr>
        </p:pic>
        <p:sp>
          <p:nvSpPr>
            <p:cNvPr id="14" name="Textfeld 13"/>
            <p:cNvSpPr txBox="1"/>
            <p:nvPr/>
          </p:nvSpPr>
          <p:spPr>
            <a:xfrm>
              <a:off x="7562194" y="823456"/>
              <a:ext cx="2320725" cy="113245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CH" sz="23900" b="1" dirty="0">
                  <a:ln w="76200" cmpd="sng">
                    <a:solidFill>
                      <a:srgbClr val="FFFFFF"/>
                    </a:solidFill>
                    <a:prstDash val="solid"/>
                    <a:miter lim="800000"/>
                  </a:ln>
                  <a:gradFill rotWithShape="1">
                    <a:gsLst>
                      <a:gs pos="0">
                        <a:srgbClr val="000000">
                          <a:tint val="92000"/>
                          <a:shade val="100000"/>
                          <a:satMod val="150000"/>
                        </a:srgbClr>
                      </a:gs>
                      <a:gs pos="49000">
                        <a:srgbClr val="000000">
                          <a:tint val="89000"/>
                          <a:shade val="90000"/>
                          <a:satMod val="150000"/>
                        </a:srgbClr>
                      </a:gs>
                      <a:gs pos="50000">
                        <a:srgbClr val="000000">
                          <a:tint val="100000"/>
                          <a:shade val="75000"/>
                          <a:satMod val="150000"/>
                        </a:srgbClr>
                      </a:gs>
                      <a:gs pos="95000">
                        <a:srgbClr val="000000">
                          <a:shade val="47000"/>
                          <a:satMod val="150000"/>
                        </a:srgbClr>
                      </a:gs>
                      <a:gs pos="100000">
                        <a:srgbClr val="000000">
                          <a:shade val="39000"/>
                          <a:satMod val="150000"/>
                        </a:srgbClr>
                      </a:gs>
                    </a:gsLst>
                    <a:lin ang="5400000"/>
                  </a:gradFill>
                  <a:effectLst>
                    <a:outerShdw blurRad="50800" algn="tl" rotWithShape="0">
                      <a:srgbClr val="000000"/>
                    </a:outerShdw>
                  </a:effectLst>
                  <a:latin typeface="Impact" panose="020B0806030902050204" pitchFamily="34" charset="0"/>
                </a:rPr>
                <a:t>5.-</a:t>
              </a:r>
            </a:p>
          </p:txBody>
        </p:sp>
      </p:grpSp>
      <p:sp>
        <p:nvSpPr>
          <p:cNvPr id="8" name="Textfeld 7"/>
          <p:cNvSpPr txBox="1"/>
          <p:nvPr/>
        </p:nvSpPr>
        <p:spPr>
          <a:xfrm>
            <a:off x="15293975" y="2205434"/>
            <a:ext cx="14258926" cy="43396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800" b="1" dirty="0">
                <a:ln w="17780" cmpd="sng">
                  <a:solidFill>
                    <a:srgbClr val="FFFFFF"/>
                  </a:solidFill>
                  <a:prstDash val="solid"/>
                  <a:miter lim="800000"/>
                </a:ln>
                <a:gradFill rotWithShape="1">
                  <a:gsLst>
                    <a:gs pos="0">
                      <a:srgbClr val="000000">
                        <a:tint val="92000"/>
                        <a:shade val="100000"/>
                        <a:satMod val="150000"/>
                      </a:srgbClr>
                    </a:gs>
                    <a:gs pos="49000">
                      <a:srgbClr val="000000">
                        <a:tint val="89000"/>
                        <a:shade val="90000"/>
                        <a:satMod val="150000"/>
                      </a:srgbClr>
                    </a:gs>
                    <a:gs pos="50000">
                      <a:srgbClr val="000000">
                        <a:tint val="100000"/>
                        <a:shade val="75000"/>
                        <a:satMod val="150000"/>
                      </a:srgbClr>
                    </a:gs>
                    <a:gs pos="95000">
                      <a:srgbClr val="000000">
                        <a:shade val="47000"/>
                        <a:satMod val="150000"/>
                      </a:srgbClr>
                    </a:gs>
                    <a:gs pos="100000">
                      <a:srgbClr val="000000">
                        <a:shade val="39000"/>
                        <a:satMod val="150000"/>
                      </a:srgbClr>
                    </a:gs>
                  </a:gsLst>
                  <a:lin ang="5400000"/>
                </a:gradFill>
                <a:latin typeface="Arial Black" panose="020B0A04020102020204" pitchFamily="34" charset="0"/>
              </a:rPr>
              <a:t>Neu im Restposten!</a:t>
            </a:r>
          </a:p>
        </p:txBody>
      </p:sp>
    </p:spTree>
    <p:extLst>
      <p:ext uri="{BB962C8B-B14F-4D97-AF65-F5344CB8AC3E}">
        <p14:creationId xmlns:p14="http://schemas.microsoft.com/office/powerpoint/2010/main" val="34118373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repeatCount="15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 tmFilter="0, 0; .2, .5; .8, .5; 1, 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0" autoRev="1" fill="hold"/>
                                        <p:tgtEl>
                                          <p:spTgt spid="12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36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6165" y="883123"/>
            <a:ext cx="21381525" cy="1404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" name="Gruppieren 1"/>
          <p:cNvGrpSpPr>
            <a:grpSpLocks noChangeAspect="1"/>
          </p:cNvGrpSpPr>
          <p:nvPr/>
        </p:nvGrpSpPr>
        <p:grpSpPr>
          <a:xfrm>
            <a:off x="16169645" y="1593727"/>
            <a:ext cx="7726336" cy="7143842"/>
            <a:chOff x="7453878" y="349622"/>
            <a:chExt cx="2320725" cy="2145764"/>
          </a:xfrm>
        </p:grpSpPr>
        <p:pic>
          <p:nvPicPr>
            <p:cNvPr id="3" name="Grafik 2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562194" y="349622"/>
              <a:ext cx="2104094" cy="2145764"/>
            </a:xfrm>
            <a:prstGeom prst="rect">
              <a:avLst/>
            </a:prstGeom>
          </p:spPr>
        </p:pic>
        <p:sp>
          <p:nvSpPr>
            <p:cNvPr id="4" name="Textfeld 3"/>
            <p:cNvSpPr txBox="1"/>
            <p:nvPr/>
          </p:nvSpPr>
          <p:spPr>
            <a:xfrm>
              <a:off x="7453878" y="836948"/>
              <a:ext cx="2320725" cy="113245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CH" sz="23900" b="1" dirty="0">
                  <a:ln w="76200" cmpd="sng">
                    <a:solidFill>
                      <a:srgbClr val="FFFFFF"/>
                    </a:solidFill>
                    <a:prstDash val="solid"/>
                    <a:miter lim="800000"/>
                  </a:ln>
                  <a:gradFill rotWithShape="1">
                    <a:gsLst>
                      <a:gs pos="0">
                        <a:srgbClr val="000000">
                          <a:tint val="92000"/>
                          <a:shade val="100000"/>
                          <a:satMod val="150000"/>
                        </a:srgbClr>
                      </a:gs>
                      <a:gs pos="49000">
                        <a:srgbClr val="000000">
                          <a:tint val="89000"/>
                          <a:shade val="90000"/>
                          <a:satMod val="150000"/>
                        </a:srgbClr>
                      </a:gs>
                      <a:gs pos="50000">
                        <a:srgbClr val="000000">
                          <a:tint val="100000"/>
                          <a:shade val="75000"/>
                          <a:satMod val="150000"/>
                        </a:srgbClr>
                      </a:gs>
                      <a:gs pos="95000">
                        <a:srgbClr val="000000">
                          <a:shade val="47000"/>
                          <a:satMod val="150000"/>
                        </a:srgbClr>
                      </a:gs>
                      <a:gs pos="100000">
                        <a:srgbClr val="000000">
                          <a:shade val="39000"/>
                          <a:satMod val="150000"/>
                        </a:srgbClr>
                      </a:gs>
                    </a:gsLst>
                    <a:lin ang="5400000"/>
                  </a:gradFill>
                  <a:effectLst>
                    <a:outerShdw blurRad="50800" algn="tl" rotWithShape="0">
                      <a:srgbClr val="000000"/>
                    </a:outerShdw>
                  </a:effectLst>
                  <a:latin typeface="Impact" panose="020B0806030902050204" pitchFamily="34" charset="0"/>
                </a:rPr>
                <a:t>- 25%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277125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repeatCount="15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 tmFilter="0, 0; .2, .5; .8, .5; 1, 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0" autoRev="1" fill="hold"/>
                                        <p:tgtEl>
                                          <p:spTgt spid="2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38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12470" y="1036409"/>
            <a:ext cx="21126603" cy="1404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" name="Gruppieren 1"/>
          <p:cNvGrpSpPr>
            <a:grpSpLocks noChangeAspect="1"/>
          </p:cNvGrpSpPr>
          <p:nvPr/>
        </p:nvGrpSpPr>
        <p:grpSpPr>
          <a:xfrm>
            <a:off x="3612470" y="1278417"/>
            <a:ext cx="7726336" cy="7143842"/>
            <a:chOff x="7453878" y="349622"/>
            <a:chExt cx="2320725" cy="2145764"/>
          </a:xfrm>
        </p:grpSpPr>
        <p:pic>
          <p:nvPicPr>
            <p:cNvPr id="3" name="Grafik 2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562194" y="349622"/>
              <a:ext cx="2104094" cy="2145764"/>
            </a:xfrm>
            <a:prstGeom prst="rect">
              <a:avLst/>
            </a:prstGeom>
          </p:spPr>
        </p:pic>
        <p:sp>
          <p:nvSpPr>
            <p:cNvPr id="4" name="Textfeld 3"/>
            <p:cNvSpPr txBox="1"/>
            <p:nvPr/>
          </p:nvSpPr>
          <p:spPr>
            <a:xfrm>
              <a:off x="7453878" y="836948"/>
              <a:ext cx="2320725" cy="113245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CH" sz="23900" b="1" dirty="0">
                  <a:ln w="76200" cmpd="sng">
                    <a:solidFill>
                      <a:srgbClr val="FFFFFF"/>
                    </a:solidFill>
                    <a:prstDash val="solid"/>
                    <a:miter lim="800000"/>
                  </a:ln>
                  <a:gradFill rotWithShape="1">
                    <a:gsLst>
                      <a:gs pos="0">
                        <a:srgbClr val="000000">
                          <a:tint val="92000"/>
                          <a:shade val="100000"/>
                          <a:satMod val="150000"/>
                        </a:srgbClr>
                      </a:gs>
                      <a:gs pos="49000">
                        <a:srgbClr val="000000">
                          <a:tint val="89000"/>
                          <a:shade val="90000"/>
                          <a:satMod val="150000"/>
                        </a:srgbClr>
                      </a:gs>
                      <a:gs pos="50000">
                        <a:srgbClr val="000000">
                          <a:tint val="100000"/>
                          <a:shade val="75000"/>
                          <a:satMod val="150000"/>
                        </a:srgbClr>
                      </a:gs>
                      <a:gs pos="95000">
                        <a:srgbClr val="000000">
                          <a:shade val="47000"/>
                          <a:satMod val="150000"/>
                        </a:srgbClr>
                      </a:gs>
                      <a:gs pos="100000">
                        <a:srgbClr val="000000">
                          <a:shade val="39000"/>
                          <a:satMod val="150000"/>
                        </a:srgbClr>
                      </a:gs>
                    </a:gsLst>
                    <a:lin ang="5400000"/>
                  </a:gradFill>
                  <a:effectLst>
                    <a:outerShdw blurRad="50800" algn="tl" rotWithShape="0">
                      <a:srgbClr val="000000"/>
                    </a:outerShdw>
                  </a:effectLst>
                  <a:latin typeface="Impact" panose="020B0806030902050204" pitchFamily="34" charset="0"/>
                </a:rPr>
                <a:t>- 25%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6789167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repeatCount="15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 tmFilter="0, 0; .2, .5; .8, .5; 1, 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0" autoRev="1" fill="hold"/>
                                        <p:tgtEl>
                                          <p:spTgt spid="2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06486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4" name="think-cell Folie" r:id="rId4" imgW="416" imgH="416" progId="TCLayout.ActiveDocument.1">
                  <p:embed/>
                </p:oleObj>
              </mc:Choice>
              <mc:Fallback>
                <p:oleObj name="think-cell Folie" r:id="rId4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/>
        </p:nvSpPr>
        <p:spPr>
          <a:xfrm>
            <a:off x="3220754" y="1562467"/>
            <a:ext cx="23202253" cy="138807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6200" b="1" dirty="0">
                <a:ln w="17780" cmpd="sng">
                  <a:solidFill>
                    <a:srgbClr val="FFFFFF"/>
                  </a:solidFill>
                  <a:prstDash val="solid"/>
                  <a:miter lim="800000"/>
                </a:ln>
                <a:gradFill rotWithShape="1">
                  <a:gsLst>
                    <a:gs pos="0">
                      <a:srgbClr val="000000">
                        <a:tint val="92000"/>
                        <a:shade val="100000"/>
                        <a:satMod val="150000"/>
                      </a:srgbClr>
                    </a:gs>
                    <a:gs pos="49000">
                      <a:srgbClr val="000000">
                        <a:tint val="89000"/>
                        <a:shade val="90000"/>
                        <a:satMod val="150000"/>
                      </a:srgbClr>
                    </a:gs>
                    <a:gs pos="50000">
                      <a:srgbClr val="000000">
                        <a:tint val="100000"/>
                        <a:shade val="75000"/>
                        <a:satMod val="150000"/>
                      </a:srgbClr>
                    </a:gs>
                    <a:gs pos="95000">
                      <a:srgbClr val="000000">
                        <a:shade val="47000"/>
                        <a:satMod val="150000"/>
                      </a:srgbClr>
                    </a:gs>
                    <a:gs pos="100000">
                      <a:srgbClr val="000000">
                        <a:shade val="39000"/>
                        <a:satMod val="150000"/>
                      </a:srgbClr>
                    </a:gs>
                  </a:gsLst>
                  <a:lin ang="5400000"/>
                </a:gradFill>
                <a:effectLst>
                  <a:outerShdw blurRad="50800" algn="tl" rotWithShape="0">
                    <a:srgbClr val="000000"/>
                  </a:outerShdw>
                </a:effectLst>
                <a:latin typeface="Impact" panose="020B0806030902050204" pitchFamily="34" charset="0"/>
              </a:rPr>
              <a:t>Meine Philosophie</a:t>
            </a:r>
          </a:p>
          <a:p>
            <a:endParaRPr lang="de-CH" sz="5000" b="1" dirty="0">
              <a:ln w="17780" cmpd="sng">
                <a:solidFill>
                  <a:srgbClr val="FFFFFF"/>
                </a:solidFill>
                <a:prstDash val="solid"/>
                <a:miter lim="800000"/>
              </a:ln>
              <a:gradFill rotWithShape="1">
                <a:gsLst>
                  <a:gs pos="0">
                    <a:srgbClr val="000000">
                      <a:tint val="92000"/>
                      <a:shade val="100000"/>
                      <a:satMod val="150000"/>
                    </a:srgbClr>
                  </a:gs>
                  <a:gs pos="49000">
                    <a:srgbClr val="000000">
                      <a:tint val="89000"/>
                      <a:shade val="90000"/>
                      <a:satMod val="150000"/>
                    </a:srgbClr>
                  </a:gs>
                  <a:gs pos="50000">
                    <a:srgbClr val="000000">
                      <a:tint val="100000"/>
                      <a:shade val="75000"/>
                      <a:satMod val="150000"/>
                    </a:srgbClr>
                  </a:gs>
                  <a:gs pos="95000">
                    <a:srgbClr val="000000">
                      <a:shade val="47000"/>
                      <a:satMod val="150000"/>
                    </a:srgbClr>
                  </a:gs>
                  <a:gs pos="100000">
                    <a:srgbClr val="000000">
                      <a:shade val="39000"/>
                      <a:satMod val="150000"/>
                    </a:srgbClr>
                  </a:gs>
                </a:gsLst>
                <a:lin ang="5400000"/>
              </a:gradFill>
              <a:effectLst>
                <a:outerShdw blurRad="50800" algn="tl" rotWithShape="0">
                  <a:srgbClr val="000000"/>
                </a:outerShdw>
              </a:effectLst>
              <a:latin typeface="Impact" panose="020B0806030902050204" pitchFamily="34" charset="0"/>
            </a:endParaRPr>
          </a:p>
          <a:p>
            <a:pPr marL="857250" indent="-857250">
              <a:buFont typeface="Arial" panose="020B0604020202020204" pitchFamily="34" charset="0"/>
              <a:buChar char="•"/>
            </a:pPr>
            <a:r>
              <a:rPr lang="de-CH" sz="7200" dirty="0"/>
              <a:t>Vertrauensverhältnis und enge Zusammenarbeit mit dem Landwirt</a:t>
            </a:r>
          </a:p>
          <a:p>
            <a:pPr marL="857250" indent="-857250">
              <a:buFont typeface="Arial" panose="020B0604020202020204" pitchFamily="34" charset="0"/>
              <a:buChar char="•"/>
            </a:pPr>
            <a:r>
              <a:rPr lang="de-CH" sz="7200" dirty="0"/>
              <a:t>Im Zentrum: Wohl der Tiere, Vorbeugen von Erkrankungen, Tierschutz, sowie die Tierhaltung</a:t>
            </a:r>
          </a:p>
          <a:p>
            <a:pPr marL="857250" indent="-857250">
              <a:buFont typeface="Arial" panose="020B0604020202020204" pitchFamily="34" charset="0"/>
              <a:buChar char="•"/>
            </a:pPr>
            <a:r>
              <a:rPr lang="de-CH" sz="7200" dirty="0"/>
              <a:t>Betrachtung dieser Bereiche unter dem Aspekt der wirtschaftlichen Interessen </a:t>
            </a:r>
          </a:p>
          <a:p>
            <a:endParaRPr lang="de-CH" sz="3600" dirty="0"/>
          </a:p>
          <a:p>
            <a:pPr lvl="2"/>
            <a:r>
              <a:rPr lang="de-CH" sz="7200" b="1" dirty="0"/>
              <a:t>Durch die regelmässigen Besuche und die Betreuung der Herde können diese Punkte umgesetzt werden</a:t>
            </a:r>
          </a:p>
          <a:p>
            <a:pPr marL="857250" indent="-857250">
              <a:buFont typeface="Arial" panose="020B0604020202020204" pitchFamily="34" charset="0"/>
              <a:buChar char="•"/>
            </a:pPr>
            <a:endParaRPr lang="en-US" sz="7200" b="1" dirty="0">
              <a:ln w="17780" cmpd="sng">
                <a:solidFill>
                  <a:srgbClr val="FFFFFF"/>
                </a:solidFill>
                <a:prstDash val="solid"/>
                <a:miter lim="800000"/>
              </a:ln>
              <a:gradFill rotWithShape="1">
                <a:gsLst>
                  <a:gs pos="0">
                    <a:srgbClr val="000000">
                      <a:tint val="92000"/>
                      <a:shade val="100000"/>
                      <a:satMod val="150000"/>
                    </a:srgbClr>
                  </a:gs>
                  <a:gs pos="49000">
                    <a:srgbClr val="000000">
                      <a:tint val="89000"/>
                      <a:shade val="90000"/>
                      <a:satMod val="150000"/>
                    </a:srgbClr>
                  </a:gs>
                  <a:gs pos="50000">
                    <a:srgbClr val="000000">
                      <a:tint val="100000"/>
                      <a:shade val="75000"/>
                      <a:satMod val="150000"/>
                    </a:srgbClr>
                  </a:gs>
                  <a:gs pos="95000">
                    <a:srgbClr val="000000">
                      <a:shade val="47000"/>
                      <a:satMod val="150000"/>
                    </a:srgbClr>
                  </a:gs>
                  <a:gs pos="100000">
                    <a:srgbClr val="000000">
                      <a:shade val="39000"/>
                      <a:satMod val="150000"/>
                    </a:srgbClr>
                  </a:gs>
                </a:gsLst>
                <a:lin ang="5400000"/>
              </a:gradFill>
              <a:latin typeface="Arial Black" panose="020B0A04020102020204" pitchFamily="34" charset="0"/>
            </a:endParaRPr>
          </a:p>
        </p:txBody>
      </p:sp>
      <p:sp>
        <p:nvSpPr>
          <p:cNvPr id="3" name="Pfeil nach rechts 2"/>
          <p:cNvSpPr/>
          <p:nvPr/>
        </p:nvSpPr>
        <p:spPr>
          <a:xfrm>
            <a:off x="2900856" y="12265572"/>
            <a:ext cx="2306354" cy="1765738"/>
          </a:xfrm>
          <a:prstGeom prst="rightArrow">
            <a:avLst/>
          </a:prstGeom>
          <a:solidFill>
            <a:srgbClr val="99CC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293435" y="720262"/>
            <a:ext cx="6646616" cy="37517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938505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917999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4" name="think-cell Folie" r:id="rId4" imgW="416" imgH="416" progId="TCLayout.ActiveDocument.1">
                  <p:embed/>
                </p:oleObj>
              </mc:Choice>
              <mc:Fallback>
                <p:oleObj name="think-cell Folie" r:id="rId4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/>
        </p:nvSpPr>
        <p:spPr>
          <a:xfrm>
            <a:off x="3220754" y="1562467"/>
            <a:ext cx="23202253" cy="111569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3600" b="1" dirty="0">
                <a:ln w="17780" cmpd="sng">
                  <a:solidFill>
                    <a:srgbClr val="FFFFFF"/>
                  </a:solidFill>
                  <a:prstDash val="solid"/>
                  <a:miter lim="800000"/>
                </a:ln>
                <a:gradFill rotWithShape="1">
                  <a:gsLst>
                    <a:gs pos="0">
                      <a:srgbClr val="000000">
                        <a:tint val="92000"/>
                        <a:shade val="100000"/>
                        <a:satMod val="150000"/>
                      </a:srgbClr>
                    </a:gs>
                    <a:gs pos="49000">
                      <a:srgbClr val="000000">
                        <a:tint val="89000"/>
                        <a:shade val="90000"/>
                        <a:satMod val="150000"/>
                      </a:srgbClr>
                    </a:gs>
                    <a:gs pos="50000">
                      <a:srgbClr val="000000">
                        <a:tint val="100000"/>
                        <a:shade val="75000"/>
                        <a:satMod val="150000"/>
                      </a:srgbClr>
                    </a:gs>
                    <a:gs pos="95000">
                      <a:srgbClr val="000000">
                        <a:shade val="47000"/>
                        <a:satMod val="150000"/>
                      </a:srgbClr>
                    </a:gs>
                    <a:gs pos="100000">
                      <a:srgbClr val="000000">
                        <a:shade val="39000"/>
                        <a:satMod val="150000"/>
                      </a:srgbClr>
                    </a:gs>
                  </a:gsLst>
                  <a:lin ang="5400000"/>
                </a:gradFill>
                <a:effectLst>
                  <a:outerShdw blurRad="50800" algn="tl" rotWithShape="0">
                    <a:srgbClr val="000000"/>
                  </a:outerShdw>
                </a:effectLst>
                <a:latin typeface="Impact" panose="020B0806030902050204" pitchFamily="34" charset="0"/>
              </a:rPr>
              <a:t>Tierärztliche </a:t>
            </a:r>
          </a:p>
          <a:p>
            <a:pPr>
              <a:spcAft>
                <a:spcPts val="1800"/>
              </a:spcAft>
            </a:pPr>
            <a:r>
              <a:rPr lang="de-CH" sz="13600" b="1" dirty="0">
                <a:ln w="17780" cmpd="sng">
                  <a:solidFill>
                    <a:srgbClr val="FFFFFF"/>
                  </a:solidFill>
                  <a:prstDash val="solid"/>
                  <a:miter lim="800000"/>
                </a:ln>
                <a:gradFill rotWithShape="1">
                  <a:gsLst>
                    <a:gs pos="0">
                      <a:srgbClr val="000000">
                        <a:tint val="92000"/>
                        <a:shade val="100000"/>
                        <a:satMod val="150000"/>
                      </a:srgbClr>
                    </a:gs>
                    <a:gs pos="49000">
                      <a:srgbClr val="000000">
                        <a:tint val="89000"/>
                        <a:shade val="90000"/>
                        <a:satMod val="150000"/>
                      </a:srgbClr>
                    </a:gs>
                    <a:gs pos="50000">
                      <a:srgbClr val="000000">
                        <a:tint val="100000"/>
                        <a:shade val="75000"/>
                        <a:satMod val="150000"/>
                      </a:srgbClr>
                    </a:gs>
                    <a:gs pos="95000">
                      <a:srgbClr val="000000">
                        <a:shade val="47000"/>
                        <a:satMod val="150000"/>
                      </a:srgbClr>
                    </a:gs>
                    <a:gs pos="100000">
                      <a:srgbClr val="000000">
                        <a:shade val="39000"/>
                        <a:satMod val="150000"/>
                      </a:srgbClr>
                    </a:gs>
                  </a:gsLst>
                  <a:lin ang="5400000"/>
                </a:gradFill>
                <a:effectLst>
                  <a:outerShdw blurRad="50800" algn="tl" rotWithShape="0">
                    <a:srgbClr val="000000"/>
                  </a:outerShdw>
                </a:effectLst>
                <a:latin typeface="Impact" panose="020B0806030902050204" pitchFamily="34" charset="0"/>
              </a:rPr>
              <a:t>Bestandesbetreuung</a:t>
            </a:r>
            <a:endParaRPr lang="de-CH" sz="4800" b="1" dirty="0">
              <a:ln w="17780" cmpd="sng">
                <a:solidFill>
                  <a:srgbClr val="FFFFFF"/>
                </a:solidFill>
                <a:prstDash val="solid"/>
                <a:miter lim="800000"/>
              </a:ln>
              <a:gradFill rotWithShape="1">
                <a:gsLst>
                  <a:gs pos="0">
                    <a:srgbClr val="000000">
                      <a:tint val="92000"/>
                      <a:shade val="100000"/>
                      <a:satMod val="150000"/>
                    </a:srgbClr>
                  </a:gs>
                  <a:gs pos="49000">
                    <a:srgbClr val="000000">
                      <a:tint val="89000"/>
                      <a:shade val="90000"/>
                      <a:satMod val="150000"/>
                    </a:srgbClr>
                  </a:gs>
                  <a:gs pos="50000">
                    <a:srgbClr val="000000">
                      <a:tint val="100000"/>
                      <a:shade val="75000"/>
                      <a:satMod val="150000"/>
                    </a:srgbClr>
                  </a:gs>
                  <a:gs pos="95000">
                    <a:srgbClr val="000000">
                      <a:shade val="47000"/>
                      <a:satMod val="150000"/>
                    </a:srgbClr>
                  </a:gs>
                  <a:gs pos="100000">
                    <a:srgbClr val="000000">
                      <a:shade val="39000"/>
                      <a:satMod val="150000"/>
                    </a:srgbClr>
                  </a:gs>
                </a:gsLst>
                <a:lin ang="5400000"/>
              </a:gradFill>
              <a:effectLst>
                <a:outerShdw blurRad="50800" algn="tl" rotWithShape="0">
                  <a:srgbClr val="000000"/>
                </a:outerShdw>
              </a:effectLst>
              <a:latin typeface="Impact" panose="020B0806030902050204" pitchFamily="34" charset="0"/>
            </a:endParaRPr>
          </a:p>
          <a:p>
            <a:pPr marL="857250" indent="-857250">
              <a:buFont typeface="Arial" panose="020B0604020202020204" pitchFamily="34" charset="0"/>
              <a:buChar char="•"/>
            </a:pPr>
            <a:r>
              <a:rPr lang="de-CH" sz="7200" dirty="0"/>
              <a:t>Gesundheit der Herde steigern</a:t>
            </a:r>
          </a:p>
          <a:p>
            <a:pPr marL="857250" indent="-857250">
              <a:buFont typeface="Arial" panose="020B0604020202020204" pitchFamily="34" charset="0"/>
              <a:buChar char="•"/>
            </a:pPr>
            <a:r>
              <a:rPr lang="de-CH" sz="7200" dirty="0"/>
              <a:t>Leistung der Herde konsolidieren oder verbessern</a:t>
            </a:r>
          </a:p>
          <a:p>
            <a:pPr marL="857250" indent="-857250">
              <a:buFont typeface="Arial" panose="020B0604020202020204" pitchFamily="34" charset="0"/>
              <a:buChar char="•"/>
            </a:pPr>
            <a:r>
              <a:rPr lang="de-CH" sz="7200" dirty="0"/>
              <a:t>Verringerung der direkten Kosten (zum Beispiel für Behandlungen)</a:t>
            </a:r>
          </a:p>
          <a:p>
            <a:pPr marL="857250" indent="-857250">
              <a:buFont typeface="Arial" panose="020B0604020202020204" pitchFamily="34" charset="0"/>
              <a:buChar char="•"/>
            </a:pPr>
            <a:r>
              <a:rPr lang="de-CH" sz="7200" dirty="0"/>
              <a:t>Senkung der weichen und nicht direkt ersichtlichen Kosten (bspw. Anzahl Besamungen, Dauer der Zwischenkalbezeit, </a:t>
            </a:r>
            <a:endParaRPr lang="en-US" sz="7200" b="1" dirty="0">
              <a:ln w="17780" cmpd="sng">
                <a:solidFill>
                  <a:srgbClr val="FFFFFF"/>
                </a:solidFill>
                <a:prstDash val="solid"/>
                <a:miter lim="800000"/>
              </a:ln>
              <a:gradFill rotWithShape="1">
                <a:gsLst>
                  <a:gs pos="0">
                    <a:srgbClr val="000000">
                      <a:tint val="92000"/>
                      <a:shade val="100000"/>
                      <a:satMod val="150000"/>
                    </a:srgbClr>
                  </a:gs>
                  <a:gs pos="49000">
                    <a:srgbClr val="000000">
                      <a:tint val="89000"/>
                      <a:shade val="90000"/>
                      <a:satMod val="150000"/>
                    </a:srgbClr>
                  </a:gs>
                  <a:gs pos="50000">
                    <a:srgbClr val="000000">
                      <a:tint val="100000"/>
                      <a:shade val="75000"/>
                      <a:satMod val="150000"/>
                    </a:srgbClr>
                  </a:gs>
                  <a:gs pos="95000">
                    <a:srgbClr val="000000">
                      <a:shade val="47000"/>
                      <a:satMod val="150000"/>
                    </a:srgbClr>
                  </a:gs>
                  <a:gs pos="100000">
                    <a:srgbClr val="000000">
                      <a:shade val="39000"/>
                      <a:satMod val="150000"/>
                    </a:srgbClr>
                  </a:gs>
                </a:gsLst>
                <a:lin ang="5400000"/>
              </a:gradFill>
              <a:latin typeface="Arial Black" panose="020B0A04020102020204" pitchFamily="34" charset="0"/>
            </a:endParaRPr>
          </a:p>
        </p:txBody>
      </p:sp>
      <p:sp>
        <p:nvSpPr>
          <p:cNvPr id="3" name="Pfeil nach rechts 2"/>
          <p:cNvSpPr/>
          <p:nvPr/>
        </p:nvSpPr>
        <p:spPr>
          <a:xfrm>
            <a:off x="3563008" y="13116910"/>
            <a:ext cx="2306354" cy="1765738"/>
          </a:xfrm>
          <a:prstGeom prst="rightArrow">
            <a:avLst/>
          </a:prstGeom>
          <a:solidFill>
            <a:srgbClr val="99CC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313"/>
          <a:stretch/>
        </p:blipFill>
        <p:spPr>
          <a:xfrm>
            <a:off x="18544185" y="1697316"/>
            <a:ext cx="7878822" cy="3766278"/>
          </a:xfrm>
          <a:prstGeom prst="rect">
            <a:avLst/>
          </a:prstGeom>
        </p:spPr>
      </p:pic>
      <p:sp>
        <p:nvSpPr>
          <p:cNvPr id="6" name="Textfeld 5"/>
          <p:cNvSpPr txBox="1"/>
          <p:nvPr/>
        </p:nvSpPr>
        <p:spPr>
          <a:xfrm>
            <a:off x="6746975" y="13399614"/>
            <a:ext cx="14977908" cy="1200329"/>
          </a:xfrm>
          <a:prstGeom prst="rect">
            <a:avLst/>
          </a:prstGeom>
          <a:noFill/>
          <a:ln w="76200">
            <a:solidFill>
              <a:srgbClr val="99CC00"/>
            </a:solidFill>
          </a:ln>
        </p:spPr>
        <p:txBody>
          <a:bodyPr wrap="square" rtlCol="0">
            <a:spAutoFit/>
          </a:bodyPr>
          <a:lstStyle/>
          <a:p>
            <a:r>
              <a:rPr lang="de-CH" sz="7200" dirty="0"/>
              <a:t>Weitere Infos unter </a:t>
            </a:r>
            <a:r>
              <a:rPr lang="de-CH" sz="7200" b="1" dirty="0"/>
              <a:t>www.tbb-rind.ch</a:t>
            </a:r>
            <a:endParaRPr lang="en-US" sz="7200" b="1" dirty="0">
              <a:ln w="17780" cmpd="sng">
                <a:solidFill>
                  <a:srgbClr val="FFFFFF"/>
                </a:solidFill>
                <a:prstDash val="solid"/>
                <a:miter lim="800000"/>
              </a:ln>
              <a:gradFill rotWithShape="1">
                <a:gsLst>
                  <a:gs pos="0">
                    <a:srgbClr val="000000">
                      <a:tint val="92000"/>
                      <a:shade val="100000"/>
                      <a:satMod val="150000"/>
                    </a:srgbClr>
                  </a:gs>
                  <a:gs pos="49000">
                    <a:srgbClr val="000000">
                      <a:tint val="89000"/>
                      <a:shade val="90000"/>
                      <a:satMod val="150000"/>
                    </a:srgbClr>
                  </a:gs>
                  <a:gs pos="50000">
                    <a:srgbClr val="000000">
                      <a:tint val="100000"/>
                      <a:shade val="75000"/>
                      <a:satMod val="150000"/>
                    </a:srgbClr>
                  </a:gs>
                  <a:gs pos="95000">
                    <a:srgbClr val="000000">
                      <a:shade val="47000"/>
                      <a:satMod val="150000"/>
                    </a:srgbClr>
                  </a:gs>
                  <a:gs pos="100000">
                    <a:srgbClr val="000000">
                      <a:shade val="39000"/>
                      <a:satMod val="150000"/>
                    </a:srgbClr>
                  </a:gs>
                </a:gsLst>
                <a:lin ang="5400000"/>
              </a:gradFill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3450803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405" name="Picture 21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651240" y="9494863"/>
            <a:ext cx="3743304" cy="52283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407" name="Picture 2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59191" y="4340149"/>
            <a:ext cx="3927401" cy="51547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406" name="Picture 2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735008" y="4890044"/>
            <a:ext cx="7528977" cy="99139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Grafik 8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5198" y="4677471"/>
            <a:ext cx="8189811" cy="10126505"/>
          </a:xfrm>
          <a:prstGeom prst="rect">
            <a:avLst/>
          </a:prstGeom>
        </p:spPr>
      </p:pic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91833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23" name="think-cell Folie" r:id="rId8" imgW="416" imgH="416" progId="TCLayout.ActiveDocument.1">
                  <p:embed/>
                </p:oleObj>
              </mc:Choice>
              <mc:Fallback>
                <p:oleObj name="think-cell Folie" r:id="rId8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2" name="Gruppieren 11"/>
          <p:cNvGrpSpPr>
            <a:grpSpLocks noChangeAspect="1"/>
          </p:cNvGrpSpPr>
          <p:nvPr/>
        </p:nvGrpSpPr>
        <p:grpSpPr>
          <a:xfrm>
            <a:off x="791076" y="6853159"/>
            <a:ext cx="7726336" cy="7143842"/>
            <a:chOff x="7453878" y="349622"/>
            <a:chExt cx="2320725" cy="2145764"/>
          </a:xfrm>
        </p:grpSpPr>
        <p:pic>
          <p:nvPicPr>
            <p:cNvPr id="13" name="Grafik 12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7562194" y="349622"/>
              <a:ext cx="2104094" cy="2145764"/>
            </a:xfrm>
            <a:prstGeom prst="rect">
              <a:avLst/>
            </a:prstGeom>
          </p:spPr>
        </p:pic>
        <p:sp>
          <p:nvSpPr>
            <p:cNvPr id="14" name="Textfeld 13"/>
            <p:cNvSpPr txBox="1"/>
            <p:nvPr/>
          </p:nvSpPr>
          <p:spPr>
            <a:xfrm>
              <a:off x="7453878" y="836948"/>
              <a:ext cx="2320725" cy="113245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CH" sz="23900" b="1" dirty="0">
                  <a:ln w="76200" cmpd="sng">
                    <a:solidFill>
                      <a:srgbClr val="FFFFFF"/>
                    </a:solidFill>
                    <a:prstDash val="solid"/>
                    <a:miter lim="800000"/>
                  </a:ln>
                  <a:gradFill rotWithShape="1">
                    <a:gsLst>
                      <a:gs pos="0">
                        <a:srgbClr val="000000">
                          <a:tint val="92000"/>
                          <a:shade val="100000"/>
                          <a:satMod val="150000"/>
                        </a:srgbClr>
                      </a:gs>
                      <a:gs pos="49000">
                        <a:srgbClr val="000000">
                          <a:tint val="89000"/>
                          <a:shade val="90000"/>
                          <a:satMod val="150000"/>
                        </a:srgbClr>
                      </a:gs>
                      <a:gs pos="50000">
                        <a:srgbClr val="000000">
                          <a:tint val="100000"/>
                          <a:shade val="75000"/>
                          <a:satMod val="150000"/>
                        </a:srgbClr>
                      </a:gs>
                      <a:gs pos="95000">
                        <a:srgbClr val="000000">
                          <a:shade val="47000"/>
                          <a:satMod val="150000"/>
                        </a:srgbClr>
                      </a:gs>
                      <a:gs pos="100000">
                        <a:srgbClr val="000000">
                          <a:shade val="39000"/>
                          <a:satMod val="150000"/>
                        </a:srgbClr>
                      </a:gs>
                    </a:gsLst>
                    <a:lin ang="5400000"/>
                  </a:gradFill>
                  <a:effectLst>
                    <a:outerShdw blurRad="50800" algn="tl" rotWithShape="0">
                      <a:srgbClr val="000000"/>
                    </a:outerShdw>
                  </a:effectLst>
                  <a:latin typeface="Impact" panose="020B0806030902050204" pitchFamily="34" charset="0"/>
                </a:rPr>
                <a:t>- 20%</a:t>
              </a:r>
            </a:p>
          </p:txBody>
        </p:sp>
      </p:grpSp>
      <p:sp>
        <p:nvSpPr>
          <p:cNvPr id="8" name="Textfeld 7"/>
          <p:cNvSpPr txBox="1"/>
          <p:nvPr/>
        </p:nvSpPr>
        <p:spPr>
          <a:xfrm>
            <a:off x="1608084" y="1492737"/>
            <a:ext cx="25287888" cy="36009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6200" b="1" dirty="0">
                <a:ln w="17780" cmpd="sng">
                  <a:solidFill>
                    <a:srgbClr val="FFFFFF"/>
                  </a:solidFill>
                  <a:prstDash val="solid"/>
                  <a:miter lim="800000"/>
                </a:ln>
                <a:gradFill rotWithShape="1">
                  <a:gsLst>
                    <a:gs pos="0">
                      <a:srgbClr val="000000">
                        <a:tint val="92000"/>
                        <a:shade val="100000"/>
                        <a:satMod val="150000"/>
                      </a:srgbClr>
                    </a:gs>
                    <a:gs pos="49000">
                      <a:srgbClr val="000000">
                        <a:tint val="89000"/>
                        <a:shade val="90000"/>
                        <a:satMod val="150000"/>
                      </a:srgbClr>
                    </a:gs>
                    <a:gs pos="50000">
                      <a:srgbClr val="000000">
                        <a:tint val="100000"/>
                        <a:shade val="75000"/>
                        <a:satMod val="150000"/>
                      </a:srgbClr>
                    </a:gs>
                    <a:gs pos="95000">
                      <a:srgbClr val="000000">
                        <a:shade val="47000"/>
                        <a:satMod val="150000"/>
                      </a:srgbClr>
                    </a:gs>
                    <a:gs pos="100000">
                      <a:srgbClr val="000000">
                        <a:shade val="39000"/>
                        <a:satMod val="150000"/>
                      </a:srgbClr>
                    </a:gs>
                  </a:gsLst>
                  <a:lin ang="5400000"/>
                </a:gradFill>
                <a:effectLst>
                  <a:outerShdw blurRad="50800" algn="tl" rotWithShape="0">
                    <a:srgbClr val="000000"/>
                  </a:outerShdw>
                </a:effectLst>
                <a:latin typeface="Impact" panose="020B0806030902050204" pitchFamily="34" charset="0"/>
              </a:rPr>
              <a:t>Dennerle Nano Garnelenkies</a:t>
            </a:r>
          </a:p>
          <a:p>
            <a:r>
              <a:rPr lang="en-US" sz="6600" b="1" dirty="0">
                <a:ln w="17780" cmpd="sng">
                  <a:solidFill>
                    <a:srgbClr val="FFFFFF"/>
                  </a:solidFill>
                  <a:prstDash val="solid"/>
                  <a:miter lim="800000"/>
                </a:ln>
                <a:gradFill rotWithShape="1">
                  <a:gsLst>
                    <a:gs pos="0">
                      <a:srgbClr val="000000">
                        <a:tint val="92000"/>
                        <a:shade val="100000"/>
                        <a:satMod val="150000"/>
                      </a:srgbClr>
                    </a:gs>
                    <a:gs pos="49000">
                      <a:srgbClr val="000000">
                        <a:tint val="89000"/>
                        <a:shade val="90000"/>
                        <a:satMod val="150000"/>
                      </a:srgbClr>
                    </a:gs>
                    <a:gs pos="50000">
                      <a:srgbClr val="000000">
                        <a:tint val="100000"/>
                        <a:shade val="75000"/>
                        <a:satMod val="150000"/>
                      </a:srgbClr>
                    </a:gs>
                    <a:gs pos="95000">
                      <a:srgbClr val="000000">
                        <a:shade val="47000"/>
                        <a:satMod val="150000"/>
                      </a:srgbClr>
                    </a:gs>
                    <a:gs pos="100000">
                      <a:srgbClr val="000000">
                        <a:shade val="39000"/>
                        <a:satMod val="150000"/>
                      </a:srgbClr>
                    </a:gs>
                  </a:gsLst>
                  <a:lin ang="5400000"/>
                </a:gradFill>
                <a:latin typeface="Arial Black" panose="020B0A04020102020204" pitchFamily="34" charset="0"/>
              </a:rPr>
              <a:t>(solange Vorrat)</a:t>
            </a:r>
          </a:p>
        </p:txBody>
      </p:sp>
    </p:spTree>
    <p:extLst>
      <p:ext uri="{BB962C8B-B14F-4D97-AF65-F5344CB8AC3E}">
        <p14:creationId xmlns:p14="http://schemas.microsoft.com/office/powerpoint/2010/main" val="15969407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repeatCount="15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 tmFilter="0, 0; .2, .5; .8, .5; 1, 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0" autoRev="1" fill="hold"/>
                                        <p:tgtEl>
                                          <p:spTgt spid="12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246" name="Picture 5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42837" y="2840403"/>
            <a:ext cx="12660313" cy="121881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722683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66" name="think-cell Folie" r:id="rId5" imgW="416" imgH="416" progId="TCLayout.ActiveDocument.1">
                  <p:embed/>
                </p:oleObj>
              </mc:Choice>
              <mc:Fallback>
                <p:oleObj name="think-cell Folie" r:id="rId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2" name="Gruppieren 11"/>
          <p:cNvGrpSpPr>
            <a:grpSpLocks noChangeAspect="1"/>
          </p:cNvGrpSpPr>
          <p:nvPr/>
        </p:nvGrpSpPr>
        <p:grpSpPr>
          <a:xfrm>
            <a:off x="5965318" y="4818759"/>
            <a:ext cx="7726336" cy="7143842"/>
            <a:chOff x="7453878" y="349622"/>
            <a:chExt cx="2320725" cy="2145764"/>
          </a:xfrm>
        </p:grpSpPr>
        <p:pic>
          <p:nvPicPr>
            <p:cNvPr id="13" name="Grafik 12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7562194" y="349622"/>
              <a:ext cx="2104094" cy="2145764"/>
            </a:xfrm>
            <a:prstGeom prst="rect">
              <a:avLst/>
            </a:prstGeom>
          </p:spPr>
        </p:pic>
        <p:sp>
          <p:nvSpPr>
            <p:cNvPr id="14" name="Textfeld 13"/>
            <p:cNvSpPr txBox="1"/>
            <p:nvPr/>
          </p:nvSpPr>
          <p:spPr>
            <a:xfrm>
              <a:off x="7453878" y="836948"/>
              <a:ext cx="2320725" cy="113245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CH" sz="23900" b="1" dirty="0">
                  <a:ln w="76200" cmpd="sng">
                    <a:solidFill>
                      <a:srgbClr val="FFFFFF"/>
                    </a:solidFill>
                    <a:prstDash val="solid"/>
                    <a:miter lim="800000"/>
                  </a:ln>
                  <a:gradFill rotWithShape="1">
                    <a:gsLst>
                      <a:gs pos="0">
                        <a:srgbClr val="000000">
                          <a:tint val="92000"/>
                          <a:shade val="100000"/>
                          <a:satMod val="150000"/>
                        </a:srgbClr>
                      </a:gs>
                      <a:gs pos="49000">
                        <a:srgbClr val="000000">
                          <a:tint val="89000"/>
                          <a:shade val="90000"/>
                          <a:satMod val="150000"/>
                        </a:srgbClr>
                      </a:gs>
                      <a:gs pos="50000">
                        <a:srgbClr val="000000">
                          <a:tint val="100000"/>
                          <a:shade val="75000"/>
                          <a:satMod val="150000"/>
                        </a:srgbClr>
                      </a:gs>
                      <a:gs pos="95000">
                        <a:srgbClr val="000000">
                          <a:shade val="47000"/>
                          <a:satMod val="150000"/>
                        </a:srgbClr>
                      </a:gs>
                      <a:gs pos="100000">
                        <a:srgbClr val="000000">
                          <a:shade val="39000"/>
                          <a:satMod val="150000"/>
                        </a:srgbClr>
                      </a:gs>
                    </a:gsLst>
                    <a:lin ang="5400000"/>
                  </a:gradFill>
                  <a:effectLst>
                    <a:outerShdw blurRad="50800" algn="tl" rotWithShape="0">
                      <a:srgbClr val="000000"/>
                    </a:outerShdw>
                  </a:effectLst>
                  <a:latin typeface="Impact" panose="020B0806030902050204" pitchFamily="34" charset="0"/>
                </a:rPr>
                <a:t>Neu!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364770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repeatCount="15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 tmFilter="0, 0; .2, .5; .8, .5; 1, 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0" autoRev="1" fill="hold"/>
                                        <p:tgtEl>
                                          <p:spTgt spid="12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feld 9"/>
          <p:cNvSpPr txBox="1"/>
          <p:nvPr/>
        </p:nvSpPr>
        <p:spPr>
          <a:xfrm>
            <a:off x="2655174" y="1507874"/>
            <a:ext cx="23137211" cy="60939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200" b="1" dirty="0">
                <a:ln w="17780" cmpd="sng">
                  <a:solidFill>
                    <a:srgbClr val="FFFFFF"/>
                  </a:solidFill>
                  <a:prstDash val="solid"/>
                  <a:miter lim="800000"/>
                </a:ln>
                <a:gradFill rotWithShape="1">
                  <a:gsLst>
                    <a:gs pos="0">
                      <a:srgbClr val="000000">
                        <a:tint val="92000"/>
                        <a:shade val="100000"/>
                        <a:satMod val="150000"/>
                      </a:srgbClr>
                    </a:gs>
                    <a:gs pos="49000">
                      <a:srgbClr val="000000">
                        <a:tint val="89000"/>
                        <a:shade val="90000"/>
                        <a:satMod val="150000"/>
                      </a:srgbClr>
                    </a:gs>
                    <a:gs pos="50000">
                      <a:srgbClr val="000000">
                        <a:tint val="100000"/>
                        <a:shade val="75000"/>
                        <a:satMod val="150000"/>
                      </a:srgbClr>
                    </a:gs>
                    <a:gs pos="95000">
                      <a:srgbClr val="000000">
                        <a:shade val="47000"/>
                        <a:satMod val="150000"/>
                      </a:srgbClr>
                    </a:gs>
                    <a:gs pos="100000">
                      <a:srgbClr val="000000">
                        <a:shade val="39000"/>
                        <a:satMod val="150000"/>
                      </a:srgbClr>
                    </a:gs>
                  </a:gsLst>
                  <a:lin ang="5400000"/>
                </a:gradFill>
                <a:effectLst>
                  <a:outerShdw blurRad="50800" algn="tl" rotWithShape="0">
                    <a:srgbClr val="000000"/>
                  </a:outerShdw>
                </a:effectLst>
                <a:latin typeface="Impact" panose="020B0806030902050204" pitchFamily="34" charset="0"/>
              </a:rPr>
              <a:t>Pflanzenrestbestände massiv reduziert</a:t>
            </a:r>
          </a:p>
          <a:p>
            <a:r>
              <a:rPr lang="en-US" sz="6600" b="1" dirty="0">
                <a:ln w="17780" cmpd="sng">
                  <a:solidFill>
                    <a:srgbClr val="FFFFFF"/>
                  </a:solidFill>
                  <a:prstDash val="solid"/>
                  <a:miter lim="800000"/>
                </a:ln>
                <a:gradFill rotWithShape="1">
                  <a:gsLst>
                    <a:gs pos="0">
                      <a:srgbClr val="000000">
                        <a:tint val="92000"/>
                        <a:shade val="100000"/>
                        <a:satMod val="150000"/>
                      </a:srgbClr>
                    </a:gs>
                    <a:gs pos="49000">
                      <a:srgbClr val="000000">
                        <a:tint val="89000"/>
                        <a:shade val="90000"/>
                        <a:satMod val="150000"/>
                      </a:srgbClr>
                    </a:gs>
                    <a:gs pos="50000">
                      <a:srgbClr val="000000">
                        <a:tint val="100000"/>
                        <a:shade val="75000"/>
                        <a:satMod val="150000"/>
                      </a:srgbClr>
                    </a:gs>
                    <a:gs pos="95000">
                      <a:srgbClr val="000000">
                        <a:shade val="47000"/>
                        <a:satMod val="150000"/>
                      </a:srgbClr>
                    </a:gs>
                    <a:gs pos="100000">
                      <a:srgbClr val="000000">
                        <a:shade val="39000"/>
                        <a:satMod val="150000"/>
                      </a:srgbClr>
                    </a:gs>
                  </a:gsLst>
                  <a:lin ang="5400000"/>
                </a:gradFill>
                <a:latin typeface="Arial Black" panose="020B0A04020102020204" pitchFamily="34" charset="0"/>
              </a:rPr>
              <a:t>(solange Vorrat)</a:t>
            </a:r>
          </a:p>
        </p:txBody>
      </p:sp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917113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7" name="think-cell Folie" r:id="rId4" imgW="416" imgH="416" progId="TCLayout.ActiveDocument.1">
                  <p:embed/>
                </p:oleObj>
              </mc:Choice>
              <mc:Fallback>
                <p:oleObj name="think-cell Folie" r:id="rId4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2" name="Gruppieren 11"/>
          <p:cNvGrpSpPr>
            <a:grpSpLocks noChangeAspect="1"/>
          </p:cNvGrpSpPr>
          <p:nvPr/>
        </p:nvGrpSpPr>
        <p:grpSpPr>
          <a:xfrm>
            <a:off x="10093515" y="7417807"/>
            <a:ext cx="7726336" cy="7143842"/>
            <a:chOff x="7453878" y="349622"/>
            <a:chExt cx="2320725" cy="2145764"/>
          </a:xfrm>
        </p:grpSpPr>
        <p:pic>
          <p:nvPicPr>
            <p:cNvPr id="13" name="Grafik 12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7562194" y="349622"/>
              <a:ext cx="2104094" cy="2145764"/>
            </a:xfrm>
            <a:prstGeom prst="rect">
              <a:avLst/>
            </a:prstGeom>
          </p:spPr>
        </p:pic>
        <p:sp>
          <p:nvSpPr>
            <p:cNvPr id="14" name="Textfeld 13"/>
            <p:cNvSpPr txBox="1"/>
            <p:nvPr/>
          </p:nvSpPr>
          <p:spPr>
            <a:xfrm>
              <a:off x="7453878" y="836948"/>
              <a:ext cx="2320725" cy="113245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CH" sz="23900" b="1" dirty="0">
                  <a:ln w="76200" cmpd="sng">
                    <a:solidFill>
                      <a:srgbClr val="FFFFFF"/>
                    </a:solidFill>
                    <a:prstDash val="solid"/>
                    <a:miter lim="800000"/>
                  </a:ln>
                  <a:gradFill rotWithShape="1">
                    <a:gsLst>
                      <a:gs pos="0">
                        <a:srgbClr val="000000">
                          <a:tint val="92000"/>
                          <a:shade val="100000"/>
                          <a:satMod val="150000"/>
                        </a:srgbClr>
                      </a:gs>
                      <a:gs pos="49000">
                        <a:srgbClr val="000000">
                          <a:tint val="89000"/>
                          <a:shade val="90000"/>
                          <a:satMod val="150000"/>
                        </a:srgbClr>
                      </a:gs>
                      <a:gs pos="50000">
                        <a:srgbClr val="000000">
                          <a:tint val="100000"/>
                          <a:shade val="75000"/>
                          <a:satMod val="150000"/>
                        </a:srgbClr>
                      </a:gs>
                      <a:gs pos="95000">
                        <a:srgbClr val="000000">
                          <a:shade val="47000"/>
                          <a:satMod val="150000"/>
                        </a:srgbClr>
                      </a:gs>
                      <a:gs pos="100000">
                        <a:srgbClr val="000000">
                          <a:shade val="39000"/>
                          <a:satMod val="150000"/>
                        </a:srgbClr>
                      </a:gs>
                    </a:gsLst>
                    <a:lin ang="5400000"/>
                  </a:gradFill>
                  <a:effectLst>
                    <a:outerShdw blurRad="50800" algn="tl" rotWithShape="0">
                      <a:srgbClr val="000000"/>
                    </a:outerShdw>
                  </a:effectLst>
                  <a:latin typeface="Impact" panose="020B0806030902050204" pitchFamily="34" charset="0"/>
                </a:rPr>
                <a:t>- 60%</a:t>
              </a:r>
            </a:p>
          </p:txBody>
        </p:sp>
      </p:grpSp>
      <p:pic>
        <p:nvPicPr>
          <p:cNvPr id="20492" name="Picture 1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819851" y="4176626"/>
            <a:ext cx="7972534" cy="107120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493" name="Picture 13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7833" y="7989363"/>
            <a:ext cx="6677627" cy="75522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618216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repeatCount="15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 tmFilter="0, 0; .2, .5; .8, .5; 1, 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0" autoRev="1" fill="hold"/>
                                        <p:tgtEl>
                                          <p:spTgt spid="12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3" name="Picture 3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43225" y="1446105"/>
            <a:ext cx="16887825" cy="128417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216831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7" name="think-cell Folie" r:id="rId5" imgW="416" imgH="416" progId="TCLayout.ActiveDocument.1">
                  <p:embed/>
                </p:oleObj>
              </mc:Choice>
              <mc:Fallback>
                <p:oleObj name="think-cell Folie" r:id="rId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2" name="Gruppieren 11"/>
          <p:cNvGrpSpPr>
            <a:grpSpLocks noChangeAspect="1"/>
          </p:cNvGrpSpPr>
          <p:nvPr/>
        </p:nvGrpSpPr>
        <p:grpSpPr>
          <a:xfrm>
            <a:off x="16375582" y="6088308"/>
            <a:ext cx="7726336" cy="7143842"/>
            <a:chOff x="7453878" y="349622"/>
            <a:chExt cx="2320725" cy="2145764"/>
          </a:xfrm>
        </p:grpSpPr>
        <p:pic>
          <p:nvPicPr>
            <p:cNvPr id="13" name="Grafik 12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7562194" y="349622"/>
              <a:ext cx="2104094" cy="2145764"/>
            </a:xfrm>
            <a:prstGeom prst="rect">
              <a:avLst/>
            </a:prstGeom>
          </p:spPr>
        </p:pic>
        <p:sp>
          <p:nvSpPr>
            <p:cNvPr id="14" name="Textfeld 13"/>
            <p:cNvSpPr txBox="1"/>
            <p:nvPr/>
          </p:nvSpPr>
          <p:spPr>
            <a:xfrm>
              <a:off x="7453878" y="836948"/>
              <a:ext cx="2320725" cy="113245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CH" sz="23900" b="1" dirty="0">
                  <a:ln w="76200" cmpd="sng">
                    <a:solidFill>
                      <a:srgbClr val="FFFFFF"/>
                    </a:solidFill>
                    <a:prstDash val="solid"/>
                    <a:miter lim="800000"/>
                  </a:ln>
                  <a:gradFill rotWithShape="1">
                    <a:gsLst>
                      <a:gs pos="0">
                        <a:srgbClr val="000000">
                          <a:tint val="92000"/>
                          <a:shade val="100000"/>
                          <a:satMod val="150000"/>
                        </a:srgbClr>
                      </a:gs>
                      <a:gs pos="49000">
                        <a:srgbClr val="000000">
                          <a:tint val="89000"/>
                          <a:shade val="90000"/>
                          <a:satMod val="150000"/>
                        </a:srgbClr>
                      </a:gs>
                      <a:gs pos="50000">
                        <a:srgbClr val="000000">
                          <a:tint val="100000"/>
                          <a:shade val="75000"/>
                          <a:satMod val="150000"/>
                        </a:srgbClr>
                      </a:gs>
                      <a:gs pos="95000">
                        <a:srgbClr val="000000">
                          <a:shade val="47000"/>
                          <a:satMod val="150000"/>
                        </a:srgbClr>
                      </a:gs>
                      <a:gs pos="100000">
                        <a:srgbClr val="000000">
                          <a:shade val="39000"/>
                          <a:satMod val="150000"/>
                        </a:srgbClr>
                      </a:gs>
                    </a:gsLst>
                    <a:lin ang="5400000"/>
                  </a:gradFill>
                  <a:effectLst>
                    <a:outerShdw blurRad="50800" algn="tl" rotWithShape="0">
                      <a:srgbClr val="000000"/>
                    </a:outerShdw>
                  </a:effectLst>
                  <a:latin typeface="Impact" panose="020B0806030902050204" pitchFamily="34" charset="0"/>
                </a:rPr>
                <a:t>NEU!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1601261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repeatCount="15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 tmFilter="0, 0; .2, .5; .8, .5; 1, 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0" autoRev="1" fill="hold"/>
                                        <p:tgtEl>
                                          <p:spTgt spid="12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458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9088" y="1744661"/>
            <a:ext cx="11713134" cy="11487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02028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82" name="think-cell Folie" r:id="rId5" imgW="416" imgH="416" progId="TCLayout.ActiveDocument.1">
                  <p:embed/>
                </p:oleObj>
              </mc:Choice>
              <mc:Fallback>
                <p:oleObj name="think-cell Folie" r:id="rId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2" name="Gruppieren 11"/>
          <p:cNvGrpSpPr>
            <a:grpSpLocks noChangeAspect="1"/>
          </p:cNvGrpSpPr>
          <p:nvPr/>
        </p:nvGrpSpPr>
        <p:grpSpPr>
          <a:xfrm>
            <a:off x="15308782" y="6697908"/>
            <a:ext cx="7726336" cy="7143842"/>
            <a:chOff x="7453878" y="349622"/>
            <a:chExt cx="2320725" cy="2145764"/>
          </a:xfrm>
        </p:grpSpPr>
        <p:pic>
          <p:nvPicPr>
            <p:cNvPr id="13" name="Grafik 12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7562194" y="349622"/>
              <a:ext cx="2104094" cy="2145764"/>
            </a:xfrm>
            <a:prstGeom prst="rect">
              <a:avLst/>
            </a:prstGeom>
          </p:spPr>
        </p:pic>
        <p:sp>
          <p:nvSpPr>
            <p:cNvPr id="14" name="Textfeld 13"/>
            <p:cNvSpPr txBox="1"/>
            <p:nvPr/>
          </p:nvSpPr>
          <p:spPr>
            <a:xfrm>
              <a:off x="7453878" y="836948"/>
              <a:ext cx="2320725" cy="113245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CH" sz="23900" b="1" dirty="0">
                  <a:ln w="76200" cmpd="sng">
                    <a:solidFill>
                      <a:srgbClr val="FFFFFF"/>
                    </a:solidFill>
                    <a:prstDash val="solid"/>
                    <a:miter lim="800000"/>
                  </a:ln>
                  <a:gradFill rotWithShape="1">
                    <a:gsLst>
                      <a:gs pos="0">
                        <a:srgbClr val="000000">
                          <a:tint val="92000"/>
                          <a:shade val="100000"/>
                          <a:satMod val="150000"/>
                        </a:srgbClr>
                      </a:gs>
                      <a:gs pos="49000">
                        <a:srgbClr val="000000">
                          <a:tint val="89000"/>
                          <a:shade val="90000"/>
                          <a:satMod val="150000"/>
                        </a:srgbClr>
                      </a:gs>
                      <a:gs pos="50000">
                        <a:srgbClr val="000000">
                          <a:tint val="100000"/>
                          <a:shade val="75000"/>
                          <a:satMod val="150000"/>
                        </a:srgbClr>
                      </a:gs>
                      <a:gs pos="95000">
                        <a:srgbClr val="000000">
                          <a:shade val="47000"/>
                          <a:satMod val="150000"/>
                        </a:srgbClr>
                      </a:gs>
                      <a:gs pos="100000">
                        <a:srgbClr val="000000">
                          <a:shade val="39000"/>
                          <a:satMod val="150000"/>
                        </a:srgbClr>
                      </a:gs>
                    </a:gsLst>
                    <a:lin ang="5400000"/>
                  </a:gradFill>
                  <a:effectLst>
                    <a:outerShdw blurRad="50800" algn="tl" rotWithShape="0">
                      <a:srgbClr val="000000"/>
                    </a:outerShdw>
                  </a:effectLst>
                  <a:latin typeface="Impact" panose="020B0806030902050204" pitchFamily="34" charset="0"/>
                </a:rPr>
                <a:t>NEU!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12726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repeatCount="15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 tmFilter="0, 0; .2, .5; .8, .5; 1, 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0" autoRev="1" fill="hold"/>
                                        <p:tgtEl>
                                          <p:spTgt spid="12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652" b="28445"/>
          <a:stretch/>
        </p:blipFill>
        <p:spPr>
          <a:xfrm>
            <a:off x="4955093" y="1992649"/>
            <a:ext cx="13838503" cy="10325101"/>
          </a:xfrm>
          <a:prstGeom prst="rect">
            <a:avLst/>
          </a:prstGeom>
        </p:spPr>
      </p:pic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18151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57" name="think-cell Folie" r:id="rId5" imgW="416" imgH="416" progId="TCLayout.ActiveDocument.1">
                  <p:embed/>
                </p:oleObj>
              </mc:Choice>
              <mc:Fallback>
                <p:oleObj name="think-cell Folie" r:id="rId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2" name="Gruppieren 11"/>
          <p:cNvGrpSpPr>
            <a:grpSpLocks noChangeAspect="1"/>
          </p:cNvGrpSpPr>
          <p:nvPr/>
        </p:nvGrpSpPr>
        <p:grpSpPr>
          <a:xfrm>
            <a:off x="16375582" y="6088308"/>
            <a:ext cx="7726336" cy="7143842"/>
            <a:chOff x="7453878" y="349622"/>
            <a:chExt cx="2320725" cy="2145764"/>
          </a:xfrm>
        </p:grpSpPr>
        <p:pic>
          <p:nvPicPr>
            <p:cNvPr id="13" name="Grafik 12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7562194" y="349622"/>
              <a:ext cx="2104094" cy="2145764"/>
            </a:xfrm>
            <a:prstGeom prst="rect">
              <a:avLst/>
            </a:prstGeom>
          </p:spPr>
        </p:pic>
        <p:sp>
          <p:nvSpPr>
            <p:cNvPr id="14" name="Textfeld 13"/>
            <p:cNvSpPr txBox="1"/>
            <p:nvPr/>
          </p:nvSpPr>
          <p:spPr>
            <a:xfrm>
              <a:off x="7453878" y="836948"/>
              <a:ext cx="2320725" cy="113245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CH" sz="23900" b="1" dirty="0">
                  <a:ln w="76200" cmpd="sng">
                    <a:solidFill>
                      <a:srgbClr val="FFFFFF"/>
                    </a:solidFill>
                    <a:prstDash val="solid"/>
                    <a:miter lim="800000"/>
                  </a:ln>
                  <a:gradFill rotWithShape="1">
                    <a:gsLst>
                      <a:gs pos="0">
                        <a:srgbClr val="000000">
                          <a:tint val="92000"/>
                          <a:shade val="100000"/>
                          <a:satMod val="150000"/>
                        </a:srgbClr>
                      </a:gs>
                      <a:gs pos="49000">
                        <a:srgbClr val="000000">
                          <a:tint val="89000"/>
                          <a:shade val="90000"/>
                          <a:satMod val="150000"/>
                        </a:srgbClr>
                      </a:gs>
                      <a:gs pos="50000">
                        <a:srgbClr val="000000">
                          <a:tint val="100000"/>
                          <a:shade val="75000"/>
                          <a:satMod val="150000"/>
                        </a:srgbClr>
                      </a:gs>
                      <a:gs pos="95000">
                        <a:srgbClr val="000000">
                          <a:shade val="47000"/>
                          <a:satMod val="150000"/>
                        </a:srgbClr>
                      </a:gs>
                      <a:gs pos="100000">
                        <a:srgbClr val="000000">
                          <a:shade val="39000"/>
                          <a:satMod val="150000"/>
                        </a:srgbClr>
                      </a:gs>
                    </a:gsLst>
                    <a:lin ang="5400000"/>
                  </a:gradFill>
                  <a:effectLst>
                    <a:outerShdw blurRad="50800" algn="tl" rotWithShape="0">
                      <a:srgbClr val="000000"/>
                    </a:outerShdw>
                  </a:effectLst>
                  <a:latin typeface="Impact" panose="020B0806030902050204" pitchFamily="34" charset="0"/>
                </a:rPr>
                <a:t>NEU!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0301650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repeatCount="15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 tmFilter="0, 0; .2, .5; .8, .5; 1, 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0" autoRev="1" fill="hold"/>
                                        <p:tgtEl>
                                          <p:spTgt spid="12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173</Words>
  <Application>Microsoft Office PowerPoint</Application>
  <PresentationFormat>Benutzerdefiniert</PresentationFormat>
  <Paragraphs>37</Paragraphs>
  <Slides>14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4</vt:i4>
      </vt:variant>
    </vt:vector>
  </HeadingPairs>
  <TitlesOfParts>
    <vt:vector size="22" baseType="lpstr">
      <vt:lpstr>Arial</vt:lpstr>
      <vt:lpstr>Arial Black</vt:lpstr>
      <vt:lpstr>Arial Narrow</vt:lpstr>
      <vt:lpstr>Calibri</vt:lpstr>
      <vt:lpstr>Calibri Light</vt:lpstr>
      <vt:lpstr>Impact</vt:lpstr>
      <vt:lpstr>Office Theme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radmin</dc:creator>
  <cp:lastModifiedBy>José Gimenez</cp:lastModifiedBy>
  <cp:revision>128</cp:revision>
  <dcterms:created xsi:type="dcterms:W3CDTF">2016-03-31T19:47:24Z</dcterms:created>
  <dcterms:modified xsi:type="dcterms:W3CDTF">2021-12-12T13:39:23Z</dcterms:modified>
</cp:coreProperties>
</file>